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5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 /><Relationship Id="rId2" Type="http://schemas.openxmlformats.org/package/2006/relationships/metadata/core-properties" Target="docProps/core.xml" /><Relationship Id="rId1" Type="http://schemas.openxmlformats.org/officeDocument/2006/relationships/officeDocument" Target="ppt/presentation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739" r:id="rId2"/>
  </p:sldMasterIdLst>
  <p:notesMasterIdLst>
    <p:notesMasterId r:id="rId9"/>
  </p:notesMasterIdLst>
  <p:handoutMasterIdLst>
    <p:handoutMasterId r:id="rId10"/>
  </p:handoutMasterIdLst>
  <p:sldIdLst>
    <p:sldId id="469" r:id="rId3"/>
    <p:sldId id="490" r:id="rId4"/>
    <p:sldId id="768" r:id="rId5"/>
    <p:sldId id="769" r:id="rId6"/>
    <p:sldId id="326" r:id="rId7"/>
    <p:sldId id="770" r:id="rId8"/>
  </p:sldIdLst>
  <p:sldSz cx="9144000" cy="5143500" type="screen16x9"/>
  <p:notesSz cx="9929813" cy="6797675"/>
  <p:custDataLst>
    <p:tags r:id="rId11"/>
  </p:custDataLst>
  <p:defaultTextStyle>
    <a:defPPr>
      <a:defRPr lang="de-DE"/>
    </a:defPPr>
    <a:lvl1pPr marL="0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8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2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6" userDrawn="1">
          <p15:clr>
            <a:srgbClr val="A4A3A4"/>
          </p15:clr>
        </p15:guide>
        <p15:guide id="2" orient="horz" pos="769" userDrawn="1">
          <p15:clr>
            <a:srgbClr val="A4A3A4"/>
          </p15:clr>
        </p15:guide>
        <p15:guide id="3" orient="horz" pos="2854" userDrawn="1">
          <p15:clr>
            <a:srgbClr val="A4A3A4"/>
          </p15:clr>
        </p15:guide>
        <p15:guide id="4" orient="horz" pos="3138" userDrawn="1">
          <p15:clr>
            <a:srgbClr val="A4A3A4"/>
          </p15:clr>
        </p15:guide>
        <p15:guide id="5" orient="horz" pos="3071" userDrawn="1">
          <p15:clr>
            <a:srgbClr val="A4A3A4"/>
          </p15:clr>
        </p15:guide>
        <p15:guide id="6" pos="2828" userDrawn="1">
          <p15:clr>
            <a:srgbClr val="A4A3A4"/>
          </p15:clr>
        </p15:guide>
        <p15:guide id="7" pos="235" userDrawn="1">
          <p15:clr>
            <a:srgbClr val="A4A3A4"/>
          </p15:clr>
        </p15:guide>
        <p15:guide id="8" pos="5534" userDrawn="1">
          <p15:clr>
            <a:srgbClr val="A4A3A4"/>
          </p15:clr>
        </p15:guide>
        <p15:guide id="9" pos="3071" userDrawn="1">
          <p15:clr>
            <a:srgbClr val="A4A3A4"/>
          </p15:clr>
        </p15:guide>
        <p15:guide id="10" pos="1927" userDrawn="1">
          <p15:clr>
            <a:srgbClr val="A4A3A4"/>
          </p15:clr>
        </p15:guide>
        <p15:guide id="11" pos="2028" userDrawn="1">
          <p15:clr>
            <a:srgbClr val="A4A3A4"/>
          </p15:clr>
        </p15:guide>
        <p15:guide id="12" pos="3732" userDrawn="1">
          <p15:clr>
            <a:srgbClr val="A4A3A4"/>
          </p15:clr>
        </p15:guide>
        <p15:guide id="13" pos="3833" userDrawn="1">
          <p15:clr>
            <a:srgbClr val="A4A3A4"/>
          </p15:clr>
        </p15:guide>
        <p15:guide id="14" pos="541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 userDrawn="1">
          <p15:clr>
            <a:srgbClr val="A4A3A4"/>
          </p15:clr>
        </p15:guide>
        <p15:guide id="2" pos="312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eimersM" initials="R" lastIdx="9" clrIdx="0"/>
  <p:cmAuthor id="1" name="Zaviyalova Elena" initials="ZE" lastIdx="1" clrIdx="1">
    <p:extLst>
      <p:ext uri="{19B8F6BF-5375-455C-9EA6-DF929625EA0E}">
        <p15:presenceInfo xmlns:p15="http://schemas.microsoft.com/office/powerpoint/2012/main" userId="S-1-5-21-561258902-2492082573-2853285314-4077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2B11"/>
    <a:srgbClr val="4D4D4C"/>
    <a:srgbClr val="676765"/>
    <a:srgbClr val="646464"/>
    <a:srgbClr val="C0C0C0"/>
    <a:srgbClr val="FFFFFF"/>
    <a:srgbClr val="92D050"/>
    <a:srgbClr val="FF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7143" autoAdjust="0"/>
  </p:normalViewPr>
  <p:slideViewPr>
    <p:cSldViewPr>
      <p:cViewPr varScale="1">
        <p:scale>
          <a:sx n="113" d="100"/>
          <a:sy n="113" d="100"/>
        </p:scale>
        <p:origin x="614" y="91"/>
      </p:cViewPr>
      <p:guideLst>
        <p:guide orient="horz" pos="2136"/>
        <p:guide orient="horz" pos="769"/>
        <p:guide orient="horz" pos="2854"/>
        <p:guide orient="horz" pos="3138"/>
        <p:guide orient="horz" pos="3071"/>
        <p:guide pos="2828"/>
        <p:guide pos="235"/>
        <p:guide pos="5534"/>
        <p:guide pos="3071"/>
        <p:guide pos="1927"/>
        <p:guide pos="2028"/>
        <p:guide pos="3732"/>
        <p:guide pos="3833"/>
        <p:guide pos="541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>
      <p:cViewPr varScale="1">
        <p:scale>
          <a:sx n="108" d="100"/>
          <a:sy n="108" d="100"/>
        </p:scale>
        <p:origin x="2274" y="108"/>
      </p:cViewPr>
      <p:guideLst>
        <p:guide orient="horz" pos="2141"/>
        <p:guide pos="312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 /><Relationship Id="rId13" Type="http://schemas.openxmlformats.org/officeDocument/2006/relationships/presProps" Target="presProps.xml" /><Relationship Id="rId3" Type="http://schemas.openxmlformats.org/officeDocument/2006/relationships/slide" Target="slides/slide1.xml" /><Relationship Id="rId7" Type="http://schemas.openxmlformats.org/officeDocument/2006/relationships/slide" Target="slides/slide5.xml" /><Relationship Id="rId12" Type="http://schemas.openxmlformats.org/officeDocument/2006/relationships/commentAuthors" Target="commentAuthors.xml" /><Relationship Id="rId2" Type="http://schemas.openxmlformats.org/officeDocument/2006/relationships/slideMaster" Target="slideMasters/slideMaster2.xml" /><Relationship Id="rId16" Type="http://schemas.openxmlformats.org/officeDocument/2006/relationships/tableStyles" Target="tableStyles.xml" /><Relationship Id="rId1" Type="http://schemas.openxmlformats.org/officeDocument/2006/relationships/slideMaster" Target="slideMasters/slideMaster1.xml" /><Relationship Id="rId6" Type="http://schemas.openxmlformats.org/officeDocument/2006/relationships/slide" Target="slides/slide4.xml" /><Relationship Id="rId11" Type="http://schemas.openxmlformats.org/officeDocument/2006/relationships/tags" Target="tags/tag1.xml" /><Relationship Id="rId5" Type="http://schemas.openxmlformats.org/officeDocument/2006/relationships/slide" Target="slides/slide3.xml" /><Relationship Id="rId15" Type="http://schemas.openxmlformats.org/officeDocument/2006/relationships/theme" Target="theme/theme1.xml" /><Relationship Id="rId10" Type="http://schemas.openxmlformats.org/officeDocument/2006/relationships/handoutMaster" Target="handoutMasters/handoutMaster1.xml" /><Relationship Id="rId4" Type="http://schemas.openxmlformats.org/officeDocument/2006/relationships/slide" Target="slides/slide2.xml" /><Relationship Id="rId9" Type="http://schemas.openxmlformats.org/officeDocument/2006/relationships/notesMaster" Target="notesMasters/notesMaster1.xml" /><Relationship Id="rId14" Type="http://schemas.openxmlformats.org/officeDocument/2006/relationships/viewProps" Target="viewProps.xml" 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u1019\Desktop\&#1073;&#1072;&#1085;&#1082;&#1080;&#1085;&#1075;%202021.xlsx" TargetMode="External" /><Relationship Id="rId2" Type="http://schemas.microsoft.com/office/2011/relationships/chartColorStyle" Target="colors1.xml" /><Relationship Id="rId1" Type="http://schemas.microsoft.com/office/2011/relationships/chartStyle" Target="style1.xml" 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u1019\Desktop\&#1073;&#1072;&#1085;&#1082;&#1080;&#1085;&#1075;%202021.xlsx" TargetMode="External" /><Relationship Id="rId2" Type="http://schemas.microsoft.com/office/2011/relationships/chartColorStyle" Target="colors2.xml" /><Relationship Id="rId1" Type="http://schemas.microsoft.com/office/2011/relationships/chartStyle" Target="style2.xml" 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u1019\Desktop\&#1073;&#1072;&#1085;&#1082;&#1080;&#1085;&#1075;%202021.xlsx" TargetMode="External" /><Relationship Id="rId2" Type="http://schemas.microsoft.com/office/2011/relationships/chartColorStyle" Target="colors3.xml" /><Relationship Id="rId1" Type="http://schemas.microsoft.com/office/2011/relationships/chartStyle" Target="style3.xml" 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cap="none" spc="0" normalizeH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j-ea"/>
              <a:cs typeface="+mj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3!$C$5</c:f>
              <c:strCache>
                <c:ptCount val="1"/>
                <c:pt idx="0">
                  <c:v>млн. кейсов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3!$D$3:$I$3</c:f>
              <c:strCach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1 кв. 2021</c:v>
                </c:pt>
              </c:strCache>
            </c:strRef>
          </c:cat>
          <c:val>
            <c:numRef>
              <c:f>Лист3!$D$5:$I$5</c:f>
              <c:numCache>
                <c:formatCode>General</c:formatCode>
                <c:ptCount val="6"/>
                <c:pt idx="0">
                  <c:v>1.8</c:v>
                </c:pt>
                <c:pt idx="1">
                  <c:v>1.5</c:v>
                </c:pt>
                <c:pt idx="2">
                  <c:v>1.5</c:v>
                </c:pt>
                <c:pt idx="3">
                  <c:v>1.9</c:v>
                </c:pt>
                <c:pt idx="4">
                  <c:v>1.7</c:v>
                </c:pt>
                <c:pt idx="5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1E-448B-BC99-92EC19E3397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9"/>
        <c:axId val="965655328"/>
        <c:axId val="965659072"/>
      </c:barChart>
      <c:catAx>
        <c:axId val="965655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65659072"/>
        <c:crosses val="autoZero"/>
        <c:auto val="1"/>
        <c:lblAlgn val="ctr"/>
        <c:lblOffset val="100"/>
        <c:noMultiLvlLbl val="0"/>
      </c:catAx>
      <c:valAx>
        <c:axId val="9656590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656553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3!$C$7</c:f>
              <c:strCache>
                <c:ptCount val="1"/>
                <c:pt idx="0">
                  <c:v>Замена сторон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Лист3!$D$3:$H$3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Лист3!$D$7:$H$7</c:f>
              <c:numCache>
                <c:formatCode>0%</c:formatCode>
                <c:ptCount val="5"/>
                <c:pt idx="0">
                  <c:v>0.02</c:v>
                </c:pt>
                <c:pt idx="1">
                  <c:v>7.0000000000000007E-2</c:v>
                </c:pt>
                <c:pt idx="2">
                  <c:v>0.14000000000000001</c:v>
                </c:pt>
                <c:pt idx="3">
                  <c:v>0.34</c:v>
                </c:pt>
                <c:pt idx="4">
                  <c:v>0.294117647058823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B3-4300-A204-84CBA9DA5A34}"/>
            </c:ext>
          </c:extLst>
        </c:ser>
        <c:ser>
          <c:idx val="1"/>
          <c:order val="1"/>
          <c:tx>
            <c:strRef>
              <c:f>Лист3!$C$8</c:f>
              <c:strCache>
                <c:ptCount val="1"/>
                <c:pt idx="0">
                  <c:v>Приказное и исковое пр-во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Лист3!$D$3:$H$3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Лист3!$D$8:$H$8</c:f>
              <c:numCache>
                <c:formatCode>0%</c:formatCode>
                <c:ptCount val="5"/>
                <c:pt idx="0">
                  <c:v>3.3333333333333333E-2</c:v>
                </c:pt>
                <c:pt idx="1">
                  <c:v>5.1111111111111114E-2</c:v>
                </c:pt>
                <c:pt idx="2">
                  <c:v>0.32444444444444448</c:v>
                </c:pt>
                <c:pt idx="3">
                  <c:v>0.41710526315789476</c:v>
                </c:pt>
                <c:pt idx="4">
                  <c:v>0.356302521008403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2B3-4300-A204-84CBA9DA5A3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1022883008"/>
        <c:axId val="1022871776"/>
      </c:barChart>
      <c:catAx>
        <c:axId val="102288300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22871776"/>
        <c:crosses val="autoZero"/>
        <c:auto val="1"/>
        <c:lblAlgn val="ctr"/>
        <c:lblOffset val="100"/>
        <c:noMultiLvlLbl val="0"/>
      </c:catAx>
      <c:valAx>
        <c:axId val="102287177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0228830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A55-4188-AD2E-39DEE1310D03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A55-4188-AD2E-39DEE1310D03}"/>
              </c:ext>
            </c:extLst>
          </c:dPt>
          <c:dLbls>
            <c:dLbl>
              <c:idx val="0"/>
              <c:layout>
                <c:manualLayout>
                  <c:x val="0.10277777777777768"/>
                  <c:y val="-2.314814814814814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A55-4188-AD2E-39DEE1310D03}"/>
                </c:ext>
              </c:extLst>
            </c:dLbl>
            <c:dLbl>
              <c:idx val="1"/>
              <c:layout>
                <c:manualLayout>
                  <c:x val="-0.11944444444444445"/>
                  <c:y val="-2.314814814814814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A55-4188-AD2E-39DEE1310D0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3!$Q$4:$Q$5</c:f>
              <c:strCache>
                <c:ptCount val="2"/>
                <c:pt idx="0">
                  <c:v>Замена сторон</c:v>
                </c:pt>
                <c:pt idx="1">
                  <c:v>Приказное и исковое пр-во</c:v>
                </c:pt>
              </c:strCache>
            </c:strRef>
          </c:cat>
          <c:val>
            <c:numRef>
              <c:f>Лист3!$R$4:$R$5</c:f>
              <c:numCache>
                <c:formatCode>0%</c:formatCode>
                <c:ptCount val="2"/>
                <c:pt idx="0">
                  <c:v>0.15540000000000001</c:v>
                </c:pt>
                <c:pt idx="1">
                  <c:v>0.2146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A55-4188-AD2E-39DEE1310D0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2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 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 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 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 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 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2919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5172" y="0"/>
            <a:ext cx="4302919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D3D579-EDA8-4C33-8D79-0BA97F1A7821}" type="datetimeFigureOut">
              <a:rPr lang="de-DE" smtClean="0"/>
              <a:pPr/>
              <a:t>27.05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456218"/>
            <a:ext cx="4302919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5172" y="6456218"/>
            <a:ext cx="4302919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DE74F1-839B-4E55-8F62-F2E660CF453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498621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16227" y="2849026"/>
            <a:ext cx="9163934" cy="3607192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notic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543816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378" rtl="0" eaLnBrk="1" latinLnBrk="0" hangingPunct="1">
      <a:spcAft>
        <a:spcPts val="1000"/>
      </a:spcAft>
      <a:defRPr sz="18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0971" indent="-180971" algn="l" defTabSz="914378" rtl="0" eaLnBrk="1" latinLnBrk="0" hangingPunct="1">
      <a:spcAft>
        <a:spcPts val="1000"/>
      </a:spcAft>
      <a:buClr>
        <a:schemeClr val="bg2"/>
      </a:buClr>
      <a:buFont typeface="Wingdings" pitchFamily="2" charset="2"/>
      <a:buChar char="§"/>
      <a:defRPr sz="18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357179" indent="-176209" algn="l" defTabSz="914378" rtl="0" eaLnBrk="1" latinLnBrk="0" hangingPunct="1">
      <a:spcAft>
        <a:spcPts val="1000"/>
      </a:spcAft>
      <a:buClr>
        <a:schemeClr val="bg2"/>
      </a:buClr>
      <a:buFont typeface="Symbol" panose="05050102010706020507" pitchFamily="18" charset="2"/>
      <a:buChar char="-"/>
      <a:defRPr sz="18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538150" indent="-180971" algn="l" defTabSz="914378" rtl="0" eaLnBrk="1" latinLnBrk="0" hangingPunct="1">
      <a:spcAft>
        <a:spcPts val="1000"/>
      </a:spcAft>
      <a:buClr>
        <a:schemeClr val="bg2"/>
      </a:buClr>
      <a:buFont typeface="Symbol" panose="05050102010706020507" pitchFamily="18" charset="2"/>
      <a:buChar char="-"/>
      <a:defRPr sz="1800" kern="1200" baseline="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3175" indent="0" algn="l" defTabSz="914378" rtl="0" eaLnBrk="1" latinLnBrk="0" hangingPunct="1">
      <a:spcAft>
        <a:spcPts val="1000"/>
      </a:spcAft>
      <a:buClr>
        <a:schemeClr val="bg2"/>
      </a:buClr>
      <a:buFontTx/>
      <a:buNone/>
      <a:defRPr sz="1800" b="1" kern="1200" baseline="0">
        <a:solidFill>
          <a:schemeClr val="bg2"/>
        </a:solidFill>
        <a:latin typeface="Arial" pitchFamily="34" charset="0"/>
        <a:ea typeface="+mn-ea"/>
        <a:cs typeface="Arial" pitchFamily="34" charset="0"/>
      </a:defRPr>
    </a:lvl5pPr>
    <a:lvl6pPr marL="2285943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2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 /><Relationship Id="rId1" Type="http://schemas.openxmlformats.org/officeDocument/2006/relationships/notesMaster" Target="../notesMasters/notesMaster1.xml" 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 /><Relationship Id="rId1" Type="http://schemas.openxmlformats.org/officeDocument/2006/relationships/notesMaster" Target="../notesMasters/notesMaster1.xml" 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 /><Relationship Id="rId1" Type="http://schemas.openxmlformats.org/officeDocument/2006/relationships/notesMaster" Target="../notesMasters/notesMaster1.xml" 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 /><Relationship Id="rId1" Type="http://schemas.openxmlformats.org/officeDocument/2006/relationships/notesMaster" Target="../notesMasters/notesMaster1.xml" 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 /><Relationship Id="rId1" Type="http://schemas.openxmlformats.org/officeDocument/2006/relationships/notesMaster" Target="../notesMasters/notesMaster1.xml" 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 /><Relationship Id="rId1" Type="http://schemas.openxmlformats.org/officeDocument/2006/relationships/notesMaster" Target="../notesMasters/notesMaster1.xml" 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Foliennummernplatzhalter 3"/>
          <p:cNvSpPr>
            <a:spLocks noGrp="1"/>
          </p:cNvSpPr>
          <p:nvPr>
            <p:ph type="sldNum" sz="quarter" idx="5"/>
          </p:nvPr>
        </p:nvSpPr>
        <p:spPr bwMode="auto">
          <a:xfrm>
            <a:off x="5623825" y="6456364"/>
            <a:ext cx="4304401" cy="33972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4DE2EB1-A224-4A57-94AF-6B45BA9DA576}" type="slidenum">
              <a:rPr lang="de-DE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de-DE" dirty="0"/>
          </a:p>
        </p:txBody>
      </p:sp>
      <p:sp>
        <p:nvSpPr>
          <p:cNvPr id="87043" name="Folienbildplatzhalter 5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520700" y="280988"/>
            <a:ext cx="4303713" cy="2420937"/>
          </a:xfrm>
          <a:prstGeom prst="rect">
            <a:avLst/>
          </a:prstGeom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7044" name="Notizenplatzhalter 6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22855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E4131E-89D0-4D76-A298-383C020CBFFB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12623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E4131E-89D0-4D76-A298-383C020CBFFB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00423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E4131E-89D0-4D76-A298-383C020CBFFB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602150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E4131E-89D0-4D76-A298-383C020CBFFB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23133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E4131E-89D0-4D76-A298-383C020CBFFB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87776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 /><Relationship Id="rId1" Type="http://schemas.openxmlformats.org/officeDocument/2006/relationships/slideMaster" Target="../slideMasters/slideMaster1.xml" 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 /><Relationship Id="rId13" Type="http://schemas.openxmlformats.org/officeDocument/2006/relationships/image" Target="../media/image5.png" /><Relationship Id="rId3" Type="http://schemas.openxmlformats.org/officeDocument/2006/relationships/tags" Target="../tags/tag6.xml" /><Relationship Id="rId7" Type="http://schemas.openxmlformats.org/officeDocument/2006/relationships/tags" Target="../tags/tag10.xml" /><Relationship Id="rId12" Type="http://schemas.openxmlformats.org/officeDocument/2006/relationships/image" Target="../media/image4.emf" /><Relationship Id="rId2" Type="http://schemas.openxmlformats.org/officeDocument/2006/relationships/tags" Target="../tags/tag5.xml" /><Relationship Id="rId1" Type="http://schemas.openxmlformats.org/officeDocument/2006/relationships/vmlDrawing" Target="../drawings/vmlDrawing2.vml" /><Relationship Id="rId6" Type="http://schemas.openxmlformats.org/officeDocument/2006/relationships/tags" Target="../tags/tag9.xml" /><Relationship Id="rId11" Type="http://schemas.openxmlformats.org/officeDocument/2006/relationships/oleObject" Target="../embeddings/oleObject2.bin" /><Relationship Id="rId5" Type="http://schemas.openxmlformats.org/officeDocument/2006/relationships/tags" Target="../tags/tag8.xml" /><Relationship Id="rId10" Type="http://schemas.openxmlformats.org/officeDocument/2006/relationships/slideMaster" Target="../slideMasters/slideMaster1.xml" /><Relationship Id="rId4" Type="http://schemas.openxmlformats.org/officeDocument/2006/relationships/tags" Target="../tags/tag7.xml" /><Relationship Id="rId9" Type="http://schemas.openxmlformats.org/officeDocument/2006/relationships/tags" Target="../tags/tag12.xml" 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 /><Relationship Id="rId3" Type="http://schemas.openxmlformats.org/officeDocument/2006/relationships/tags" Target="../tags/tag14.xml" /><Relationship Id="rId7" Type="http://schemas.openxmlformats.org/officeDocument/2006/relationships/oleObject" Target="../embeddings/oleObject3.bin" /><Relationship Id="rId2" Type="http://schemas.openxmlformats.org/officeDocument/2006/relationships/tags" Target="../tags/tag13.xml" /><Relationship Id="rId1" Type="http://schemas.openxmlformats.org/officeDocument/2006/relationships/vmlDrawing" Target="../drawings/vmlDrawing3.vml" /><Relationship Id="rId6" Type="http://schemas.openxmlformats.org/officeDocument/2006/relationships/slideMaster" Target="../slideMasters/slideMaster1.xml" /><Relationship Id="rId5" Type="http://schemas.openxmlformats.org/officeDocument/2006/relationships/tags" Target="../tags/tag16.xml" /><Relationship Id="rId4" Type="http://schemas.openxmlformats.org/officeDocument/2006/relationships/tags" Target="../tags/tag15.xml" /><Relationship Id="rId9" Type="http://schemas.openxmlformats.org/officeDocument/2006/relationships/image" Target="../media/image5.png" 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 /><Relationship Id="rId7" Type="http://schemas.openxmlformats.org/officeDocument/2006/relationships/image" Target="../media/image6.png" /><Relationship Id="rId2" Type="http://schemas.openxmlformats.org/officeDocument/2006/relationships/tags" Target="../tags/tag17.xml" /><Relationship Id="rId1" Type="http://schemas.openxmlformats.org/officeDocument/2006/relationships/vmlDrawing" Target="../drawings/vmlDrawing4.vml" /><Relationship Id="rId6" Type="http://schemas.openxmlformats.org/officeDocument/2006/relationships/image" Target="../media/image4.emf" /><Relationship Id="rId5" Type="http://schemas.openxmlformats.org/officeDocument/2006/relationships/oleObject" Target="../embeddings/oleObject4.bin" /><Relationship Id="rId4" Type="http://schemas.openxmlformats.org/officeDocument/2006/relationships/slideMaster" Target="../slideMasters/slideMaster1.xml" 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 /><Relationship Id="rId2" Type="http://schemas.openxmlformats.org/officeDocument/2006/relationships/image" Target="../media/image7.jpeg" /><Relationship Id="rId1" Type="http://schemas.openxmlformats.org/officeDocument/2006/relationships/slideMaster" Target="../slideMasters/slideMaster2.xml" 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 /><Relationship Id="rId2" Type="http://schemas.openxmlformats.org/officeDocument/2006/relationships/image" Target="../media/image8.jpeg" /><Relationship Id="rId1" Type="http://schemas.openxmlformats.org/officeDocument/2006/relationships/slideMaster" Target="../slideMasters/slideMaster2.xml" 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 /><Relationship Id="rId1" Type="http://schemas.openxmlformats.org/officeDocument/2006/relationships/slideMaster" Target="../slideMasters/slideMaster1.xml" 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 /><Relationship Id="rId2" Type="http://schemas.openxmlformats.org/officeDocument/2006/relationships/image" Target="../media/image9.jpeg" /><Relationship Id="rId1" Type="http://schemas.openxmlformats.org/officeDocument/2006/relationships/slideMaster" Target="../slideMasters/slideMaster2.xml" 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 /><Relationship Id="rId2" Type="http://schemas.openxmlformats.org/officeDocument/2006/relationships/image" Target="../media/image10.jpeg" /><Relationship Id="rId1" Type="http://schemas.openxmlformats.org/officeDocument/2006/relationships/slideMaster" Target="../slideMasters/slideMaster2.xml" 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 /><Relationship Id="rId2" Type="http://schemas.openxmlformats.org/officeDocument/2006/relationships/image" Target="../media/image11.jpeg" /><Relationship Id="rId1" Type="http://schemas.openxmlformats.org/officeDocument/2006/relationships/slideMaster" Target="../slideMasters/slideMaster2.xml" 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 /><Relationship Id="rId2" Type="http://schemas.openxmlformats.org/officeDocument/2006/relationships/image" Target="../media/image12.jpeg" /><Relationship Id="rId1" Type="http://schemas.openxmlformats.org/officeDocument/2006/relationships/slideMaster" Target="../slideMasters/slideMaster2.xml" 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 /><Relationship Id="rId2" Type="http://schemas.openxmlformats.org/officeDocument/2006/relationships/image" Target="../media/image13.jpeg" /><Relationship Id="rId1" Type="http://schemas.openxmlformats.org/officeDocument/2006/relationships/slideMaster" Target="../slideMasters/slideMaster2.xml" 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 /><Relationship Id="rId2" Type="http://schemas.openxmlformats.org/officeDocument/2006/relationships/image" Target="../media/image14.jpeg" /><Relationship Id="rId1" Type="http://schemas.openxmlformats.org/officeDocument/2006/relationships/slideMaster" Target="../slideMasters/slideMaster2.xml" 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2.xml" 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 /><Relationship Id="rId1" Type="http://schemas.openxmlformats.org/officeDocument/2006/relationships/slideMaster" Target="../slideMasters/slideMaster2.xml" 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 /><Relationship Id="rId2" Type="http://schemas.openxmlformats.org/officeDocument/2006/relationships/image" Target="../media/image15.jpeg" /><Relationship Id="rId1" Type="http://schemas.openxmlformats.org/officeDocument/2006/relationships/slideMaster" Target="../slideMasters/slideMaster2.xml" 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 /><Relationship Id="rId2" Type="http://schemas.openxmlformats.org/officeDocument/2006/relationships/image" Target="../media/image16.jpeg" /><Relationship Id="rId1" Type="http://schemas.openxmlformats.org/officeDocument/2006/relationships/slideMaster" Target="../slideMasters/slideMaster2.xml" 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 /><Relationship Id="rId1" Type="http://schemas.openxmlformats.org/officeDocument/2006/relationships/slideMaster" Target="../slideMasters/slideMaster1.xml" 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 /><Relationship Id="rId2" Type="http://schemas.openxmlformats.org/officeDocument/2006/relationships/image" Target="../media/image17.jpeg" /><Relationship Id="rId1" Type="http://schemas.openxmlformats.org/officeDocument/2006/relationships/slideMaster" Target="../slideMasters/slideMaster2.xml" 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 /><Relationship Id="rId2" Type="http://schemas.openxmlformats.org/officeDocument/2006/relationships/image" Target="../media/image18.jpeg" /><Relationship Id="rId1" Type="http://schemas.openxmlformats.org/officeDocument/2006/relationships/slideMaster" Target="../slideMasters/slideMaster2.xml" 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 /><Relationship Id="rId2" Type="http://schemas.openxmlformats.org/officeDocument/2006/relationships/image" Target="../media/image19.jpeg" /><Relationship Id="rId1" Type="http://schemas.openxmlformats.org/officeDocument/2006/relationships/slideMaster" Target="../slideMasters/slideMaster2.xml" 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 /><Relationship Id="rId2" Type="http://schemas.openxmlformats.org/officeDocument/2006/relationships/image" Target="../media/image20.jpeg" /><Relationship Id="rId1" Type="http://schemas.openxmlformats.org/officeDocument/2006/relationships/slideMaster" Target="../slideMasters/slideMaster2.xml" 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 /><Relationship Id="rId2" Type="http://schemas.openxmlformats.org/officeDocument/2006/relationships/image" Target="../media/image21.jpeg" /><Relationship Id="rId1" Type="http://schemas.openxmlformats.org/officeDocument/2006/relationships/slideMaster" Target="../slideMasters/slideMaster2.xml" 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 /><Relationship Id="rId2" Type="http://schemas.openxmlformats.org/officeDocument/2006/relationships/image" Target="../media/image22.jpeg" /><Relationship Id="rId1" Type="http://schemas.openxmlformats.org/officeDocument/2006/relationships/slideMaster" Target="../slideMasters/slideMaster2.xml" 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 /><Relationship Id="rId1" Type="http://schemas.openxmlformats.org/officeDocument/2006/relationships/slideMaster" Target="../slideMasters/slideMaster2.xml" 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 /><Relationship Id="rId1" Type="http://schemas.openxmlformats.org/officeDocument/2006/relationships/slideMaster" Target="../slideMasters/slideMaster2.xml" 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 /><Relationship Id="rId1" Type="http://schemas.openxmlformats.org/officeDocument/2006/relationships/slideMaster" Target="../slideMasters/slideMaster2.xml" 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 /><Relationship Id="rId1" Type="http://schemas.openxmlformats.org/officeDocument/2006/relationships/slideMaster" Target="../slideMasters/slideMaster2.xml" 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 /><Relationship Id="rId1" Type="http://schemas.openxmlformats.org/officeDocument/2006/relationships/slideMaster" Target="../slideMasters/slideMaster1.xml" 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 /><Relationship Id="rId1" Type="http://schemas.openxmlformats.org/officeDocument/2006/relationships/slideMaster" Target="../slideMasters/slideMaster2.xml" 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 /><Relationship Id="rId1" Type="http://schemas.openxmlformats.org/officeDocument/2006/relationships/slideMaster" Target="../slideMasters/slideMaster2.xml" 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 /><Relationship Id="rId1" Type="http://schemas.openxmlformats.org/officeDocument/2006/relationships/slideMaster" Target="../slideMasters/slideMaster2.xml" 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 /><Relationship Id="rId1" Type="http://schemas.openxmlformats.org/officeDocument/2006/relationships/slideMaster" Target="../slideMasters/slideMaster2.xml" 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 /><Relationship Id="rId7" Type="http://schemas.openxmlformats.org/officeDocument/2006/relationships/image" Target="../media/image5.png" /><Relationship Id="rId2" Type="http://schemas.openxmlformats.org/officeDocument/2006/relationships/tags" Target="../tags/tag22.xml" /><Relationship Id="rId1" Type="http://schemas.openxmlformats.org/officeDocument/2006/relationships/vmlDrawing" Target="../drawings/vmlDrawing6.vml" /><Relationship Id="rId6" Type="http://schemas.openxmlformats.org/officeDocument/2006/relationships/image" Target="../media/image4.emf" /><Relationship Id="rId5" Type="http://schemas.openxmlformats.org/officeDocument/2006/relationships/oleObject" Target="../embeddings/oleObject6.bin" /><Relationship Id="rId4" Type="http://schemas.openxmlformats.org/officeDocument/2006/relationships/slideMaster" Target="../slideMasters/slideMaster2.xml" 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 /><Relationship Id="rId2" Type="http://schemas.openxmlformats.org/officeDocument/2006/relationships/image" Target="../media/image23.jpeg" /><Relationship Id="rId1" Type="http://schemas.openxmlformats.org/officeDocument/2006/relationships/slideMaster" Target="../slideMasters/slideMaster2.xml" 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 /><Relationship Id="rId2" Type="http://schemas.openxmlformats.org/officeDocument/2006/relationships/image" Target="../media/image23.jpeg" /><Relationship Id="rId1" Type="http://schemas.openxmlformats.org/officeDocument/2006/relationships/slideMaster" Target="../slideMasters/slideMaster2.xml" 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2.xml" 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 /><Relationship Id="rId2" Type="http://schemas.openxmlformats.org/officeDocument/2006/relationships/tags" Target="../tags/tag24.xml" /><Relationship Id="rId1" Type="http://schemas.openxmlformats.org/officeDocument/2006/relationships/vmlDrawing" Target="../drawings/vmlDrawing7.vml" /><Relationship Id="rId6" Type="http://schemas.openxmlformats.org/officeDocument/2006/relationships/image" Target="../media/image4.emf" /><Relationship Id="rId5" Type="http://schemas.openxmlformats.org/officeDocument/2006/relationships/oleObject" Target="../embeddings/oleObject7.bin" /><Relationship Id="rId4" Type="http://schemas.openxmlformats.org/officeDocument/2006/relationships/slideMaster" Target="../slideMasters/slideMaster2.xml" 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 /><Relationship Id="rId1" Type="http://schemas.openxmlformats.org/officeDocument/2006/relationships/slideMaster" Target="../slideMasters/slideMaster1.xml" 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 /><Relationship Id="rId1" Type="http://schemas.openxmlformats.org/officeDocument/2006/relationships/slideMaster" Target="../slideMasters/slideMaster1.xml" 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 /><Relationship Id="rId1" Type="http://schemas.openxmlformats.org/officeDocument/2006/relationships/slideMaster" Target="../slideMasters/slideMaster1.xml" 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 /><Relationship Id="rId1" Type="http://schemas.openxmlformats.org/officeDocument/2006/relationships/slideMaster" Target="../slideMasters/slideMaster1.xml" 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 /><Relationship Id="rId1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1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3" y="2"/>
            <a:ext cx="9143998" cy="351492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10" name="Rechteck 3"/>
          <p:cNvSpPr/>
          <p:nvPr userDrawn="1"/>
        </p:nvSpPr>
        <p:spPr>
          <a:xfrm>
            <a:off x="-4763" y="2508393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0366" y="4193472"/>
            <a:ext cx="7544942" cy="276999"/>
          </a:xfrm>
          <a:noFill/>
        </p:spPr>
        <p:txBody>
          <a:bodyPr wrap="square" lIns="0" tIns="0" rIns="0" bIns="0">
            <a:sp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 b="0">
                <a:solidFill>
                  <a:schemeClr val="tx2"/>
                </a:solidFill>
              </a:defRPr>
            </a:lvl2pPr>
            <a:lvl3pPr>
              <a:defRPr sz="1800" b="0">
                <a:solidFill>
                  <a:schemeClr val="tx2"/>
                </a:solidFill>
              </a:defRPr>
            </a:lvl3pPr>
            <a:lvl4pPr>
              <a:defRPr sz="1800" b="0">
                <a:solidFill>
                  <a:schemeClr val="tx2"/>
                </a:solidFill>
              </a:defRPr>
            </a:lvl4pPr>
            <a:lvl5pPr>
              <a:defRPr sz="1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60003" y="3778087"/>
            <a:ext cx="7545344" cy="400110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spcAft>
                <a:spcPts val="1200"/>
              </a:spcAft>
              <a:defRPr sz="2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17" name="Textfeld 16"/>
          <p:cNvSpPr txBox="1"/>
          <p:nvPr userDrawn="1"/>
        </p:nvSpPr>
        <p:spPr>
          <a:xfrm>
            <a:off x="360366" y="4730531"/>
            <a:ext cx="38385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kern="1200" baseline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or</a:t>
            </a:r>
            <a:r>
              <a:rPr lang="de-DE" sz="1200" b="0" kern="1200" baseline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 a </a:t>
            </a:r>
            <a:r>
              <a:rPr lang="de-DE" sz="1200" b="0" kern="1200" baseline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debt-free</a:t>
            </a:r>
            <a:r>
              <a:rPr lang="de-DE" sz="1200" b="0" kern="1200" baseline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de-DE" sz="1200" b="0" kern="1200" baseline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world</a:t>
            </a:r>
            <a:endParaRPr lang="de-DE" sz="1200" b="0" kern="1200" baseline="0" dirty="0">
              <a:solidFill>
                <a:schemeClr val="bg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583" y="4332429"/>
            <a:ext cx="550800" cy="55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1192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ntent 2/3 to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3"/>
          <p:cNvSpPr>
            <a:spLocks noGrp="1"/>
          </p:cNvSpPr>
          <p:nvPr>
            <p:ph sz="quarter" idx="21" hasCustomPrompt="1"/>
          </p:nvPr>
        </p:nvSpPr>
        <p:spPr>
          <a:xfrm>
            <a:off x="6084889" y="1220392"/>
            <a:ext cx="2700338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9" hasCustomPrompt="1"/>
          </p:nvPr>
        </p:nvSpPr>
        <p:spPr>
          <a:xfrm>
            <a:off x="358778" y="1220392"/>
            <a:ext cx="5564187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headli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587A00-45C5-427A-BDF7-9B55021A5AD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6" y="135000"/>
            <a:ext cx="8426450" cy="184666"/>
          </a:xfrm>
        </p:spPr>
        <p:txBody>
          <a:bodyPr lIns="0" tIns="0" rIns="0" bIns="0">
            <a:noAutofit/>
          </a:bodyPr>
          <a:lstStyle>
            <a:lvl1pPr marL="0" indent="0" algn="l" defTabSz="914378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de-DE" sz="1200" b="0" kern="1200" baseline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chapter</a:t>
            </a:r>
          </a:p>
        </p:txBody>
      </p:sp>
      <p:sp>
        <p:nvSpPr>
          <p:cNvPr id="15" name="Line 15"/>
          <p:cNvSpPr>
            <a:spLocks noChangeShapeType="1"/>
          </p:cNvSpPr>
          <p:nvPr userDrawn="1"/>
        </p:nvSpPr>
        <p:spPr bwMode="auto">
          <a:xfrm flipV="1">
            <a:off x="358775" y="4597004"/>
            <a:ext cx="8424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240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9929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llenge - Solu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Folie" r:id="rId11" imgW="360" imgH="360" progId="">
                  <p:embed/>
                </p:oleObj>
              </mc:Choice>
              <mc:Fallback>
                <p:oleObj name="think-cell Folie" r:id="rId11" imgW="360" imgH="360" progId="">
                  <p:embed/>
                  <p:pic>
                    <p:nvPicPr>
                      <p:cNvPr id="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VCT_Marker_ID_4" hidden="1"/>
          <p:cNvSpPr/>
          <p:nvPr userDrawn="1">
            <p:custDataLst>
              <p:tags r:id="rId3"/>
            </p:custDataLst>
          </p:nvPr>
        </p:nvSpPr>
        <p:spPr>
          <a:xfrm>
            <a:off x="1270001" y="127001"/>
            <a:ext cx="127000" cy="127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/>
          </a:p>
        </p:txBody>
      </p:sp>
      <p:sp>
        <p:nvSpPr>
          <p:cNvPr id="8" name="Line 15"/>
          <p:cNvSpPr>
            <a:spLocks noChangeShapeType="1"/>
          </p:cNvSpPr>
          <p:nvPr userDrawn="1"/>
        </p:nvSpPr>
        <p:spPr bwMode="auto">
          <a:xfrm flipV="1">
            <a:off x="358776" y="4597400"/>
            <a:ext cx="842327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 sz="240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1213" y="4621213"/>
            <a:ext cx="360362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Gruppieren 11"/>
          <p:cNvGrpSpPr>
            <a:grpSpLocks/>
          </p:cNvGrpSpPr>
          <p:nvPr userDrawn="1">
            <p:custDataLst>
              <p:tags r:id="rId4"/>
            </p:custDataLst>
          </p:nvPr>
        </p:nvGrpSpPr>
        <p:grpSpPr bwMode="auto">
          <a:xfrm>
            <a:off x="358776" y="2392364"/>
            <a:ext cx="433388" cy="431800"/>
            <a:chOff x="-2343150" y="2098675"/>
            <a:chExt cx="1581150" cy="1581150"/>
          </a:xfrm>
        </p:grpSpPr>
        <p:sp>
          <p:nvSpPr>
            <p:cNvPr id="12" name="AutoShape 4"/>
            <p:cNvSpPr>
              <a:spLocks noChangeAspect="1" noChangeArrowheads="1" noTextEdit="1"/>
            </p:cNvSpPr>
            <p:nvPr/>
          </p:nvSpPr>
          <p:spPr bwMode="auto">
            <a:xfrm>
              <a:off x="-2343150" y="2098675"/>
              <a:ext cx="1581150" cy="1581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400"/>
            </a:p>
          </p:txBody>
        </p:sp>
        <p:sp>
          <p:nvSpPr>
            <p:cNvPr id="13" name="Freeform 7"/>
            <p:cNvSpPr>
              <a:spLocks noEditPoints="1"/>
            </p:cNvSpPr>
            <p:nvPr/>
          </p:nvSpPr>
          <p:spPr bwMode="auto">
            <a:xfrm>
              <a:off x="-2343150" y="2098675"/>
              <a:ext cx="1579563" cy="1579563"/>
            </a:xfrm>
            <a:custGeom>
              <a:avLst/>
              <a:gdLst>
                <a:gd name="T0" fmla="*/ 1516063 w 995"/>
                <a:gd name="T1" fmla="*/ 63500 h 995"/>
                <a:gd name="T2" fmla="*/ 1516063 w 995"/>
                <a:gd name="T3" fmla="*/ 1516063 h 995"/>
                <a:gd name="T4" fmla="*/ 63500 w 995"/>
                <a:gd name="T5" fmla="*/ 1516063 h 995"/>
                <a:gd name="T6" fmla="*/ 63500 w 995"/>
                <a:gd name="T7" fmla="*/ 63500 h 995"/>
                <a:gd name="T8" fmla="*/ 1516063 w 995"/>
                <a:gd name="T9" fmla="*/ 63500 h 995"/>
                <a:gd name="T10" fmla="*/ 1579563 w 995"/>
                <a:gd name="T11" fmla="*/ 0 h 995"/>
                <a:gd name="T12" fmla="*/ 0 w 995"/>
                <a:gd name="T13" fmla="*/ 0 h 995"/>
                <a:gd name="T14" fmla="*/ 0 w 995"/>
                <a:gd name="T15" fmla="*/ 1579563 h 995"/>
                <a:gd name="T16" fmla="*/ 1579563 w 995"/>
                <a:gd name="T17" fmla="*/ 1579563 h 995"/>
                <a:gd name="T18" fmla="*/ 1579563 w 995"/>
                <a:gd name="T19" fmla="*/ 0 h 995"/>
                <a:gd name="T20" fmla="*/ 1579563 w 995"/>
                <a:gd name="T21" fmla="*/ 0 h 99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995" h="995">
                  <a:moveTo>
                    <a:pt x="955" y="40"/>
                  </a:moveTo>
                  <a:lnTo>
                    <a:pt x="955" y="955"/>
                  </a:lnTo>
                  <a:lnTo>
                    <a:pt x="40" y="955"/>
                  </a:lnTo>
                  <a:lnTo>
                    <a:pt x="40" y="40"/>
                  </a:lnTo>
                  <a:lnTo>
                    <a:pt x="955" y="40"/>
                  </a:lnTo>
                  <a:close/>
                  <a:moveTo>
                    <a:pt x="995" y="0"/>
                  </a:moveTo>
                  <a:lnTo>
                    <a:pt x="0" y="0"/>
                  </a:lnTo>
                  <a:lnTo>
                    <a:pt x="0" y="995"/>
                  </a:lnTo>
                  <a:lnTo>
                    <a:pt x="995" y="995"/>
                  </a:lnTo>
                  <a:lnTo>
                    <a:pt x="995" y="0"/>
                  </a:lnTo>
                  <a:close/>
                </a:path>
              </a:pathLst>
            </a:custGeom>
            <a:solidFill>
              <a:srgbClr val="5151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400"/>
            </a:p>
          </p:txBody>
        </p:sp>
        <p:sp>
          <p:nvSpPr>
            <p:cNvPr id="14" name="Freeform 8"/>
            <p:cNvSpPr>
              <a:spLocks noEditPoints="1"/>
            </p:cNvSpPr>
            <p:nvPr>
              <p:custDataLst>
                <p:tags r:id="rId9"/>
              </p:custDataLst>
            </p:nvPr>
          </p:nvSpPr>
          <p:spPr bwMode="auto">
            <a:xfrm>
              <a:off x="-2343150" y="2098675"/>
              <a:ext cx="1579563" cy="1579563"/>
            </a:xfrm>
            <a:custGeom>
              <a:avLst/>
              <a:gdLst>
                <a:gd name="T0" fmla="*/ 1516063 w 995"/>
                <a:gd name="T1" fmla="*/ 63500 h 995"/>
                <a:gd name="T2" fmla="*/ 1516063 w 995"/>
                <a:gd name="T3" fmla="*/ 1516063 h 995"/>
                <a:gd name="T4" fmla="*/ 63500 w 995"/>
                <a:gd name="T5" fmla="*/ 1516063 h 995"/>
                <a:gd name="T6" fmla="*/ 63500 w 995"/>
                <a:gd name="T7" fmla="*/ 63500 h 995"/>
                <a:gd name="T8" fmla="*/ 1516063 w 995"/>
                <a:gd name="T9" fmla="*/ 63500 h 995"/>
                <a:gd name="T10" fmla="*/ 1579563 w 995"/>
                <a:gd name="T11" fmla="*/ 0 h 995"/>
                <a:gd name="T12" fmla="*/ 0 w 995"/>
                <a:gd name="T13" fmla="*/ 0 h 995"/>
                <a:gd name="T14" fmla="*/ 0 w 995"/>
                <a:gd name="T15" fmla="*/ 1579563 h 995"/>
                <a:gd name="T16" fmla="*/ 1579563 w 995"/>
                <a:gd name="T17" fmla="*/ 1579563 h 995"/>
                <a:gd name="T18" fmla="*/ 1579563 w 995"/>
                <a:gd name="T19" fmla="*/ 0 h 995"/>
                <a:gd name="T20" fmla="*/ 1579563 w 995"/>
                <a:gd name="T21" fmla="*/ 0 h 99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995" h="995">
                  <a:moveTo>
                    <a:pt x="955" y="40"/>
                  </a:moveTo>
                  <a:lnTo>
                    <a:pt x="955" y="955"/>
                  </a:lnTo>
                  <a:lnTo>
                    <a:pt x="40" y="955"/>
                  </a:lnTo>
                  <a:lnTo>
                    <a:pt x="40" y="40"/>
                  </a:lnTo>
                  <a:lnTo>
                    <a:pt x="955" y="40"/>
                  </a:lnTo>
                  <a:moveTo>
                    <a:pt x="995" y="0"/>
                  </a:moveTo>
                  <a:lnTo>
                    <a:pt x="0" y="0"/>
                  </a:lnTo>
                  <a:lnTo>
                    <a:pt x="0" y="995"/>
                  </a:lnTo>
                  <a:lnTo>
                    <a:pt x="995" y="995"/>
                  </a:lnTo>
                  <a:lnTo>
                    <a:pt x="995" y="0"/>
                  </a:lnTo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400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-1731963" y="3133725"/>
              <a:ext cx="358775" cy="63500"/>
            </a:xfrm>
            <a:custGeom>
              <a:avLst/>
              <a:gdLst>
                <a:gd name="T0" fmla="*/ 336550 w 226"/>
                <a:gd name="T1" fmla="*/ 63500 h 40"/>
                <a:gd name="T2" fmla="*/ 20638 w 226"/>
                <a:gd name="T3" fmla="*/ 63500 h 40"/>
                <a:gd name="T4" fmla="*/ 0 w 226"/>
                <a:gd name="T5" fmla="*/ 41275 h 40"/>
                <a:gd name="T6" fmla="*/ 0 w 226"/>
                <a:gd name="T7" fmla="*/ 22225 h 40"/>
                <a:gd name="T8" fmla="*/ 20638 w 226"/>
                <a:gd name="T9" fmla="*/ 0 h 40"/>
                <a:gd name="T10" fmla="*/ 336550 w 226"/>
                <a:gd name="T11" fmla="*/ 0 h 40"/>
                <a:gd name="T12" fmla="*/ 358775 w 226"/>
                <a:gd name="T13" fmla="*/ 20638 h 40"/>
                <a:gd name="T14" fmla="*/ 358775 w 226"/>
                <a:gd name="T15" fmla="*/ 41275 h 40"/>
                <a:gd name="T16" fmla="*/ 336550 w 226"/>
                <a:gd name="T17" fmla="*/ 63500 h 4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26" h="40">
                  <a:moveTo>
                    <a:pt x="212" y="40"/>
                  </a:moveTo>
                  <a:lnTo>
                    <a:pt x="13" y="40"/>
                  </a:lnTo>
                  <a:lnTo>
                    <a:pt x="0" y="26"/>
                  </a:lnTo>
                  <a:lnTo>
                    <a:pt x="0" y="14"/>
                  </a:lnTo>
                  <a:lnTo>
                    <a:pt x="13" y="0"/>
                  </a:lnTo>
                  <a:lnTo>
                    <a:pt x="212" y="0"/>
                  </a:lnTo>
                  <a:lnTo>
                    <a:pt x="226" y="13"/>
                  </a:lnTo>
                  <a:lnTo>
                    <a:pt x="226" y="26"/>
                  </a:lnTo>
                  <a:lnTo>
                    <a:pt x="212" y="4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400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-1731963" y="3228975"/>
              <a:ext cx="358775" cy="63500"/>
            </a:xfrm>
            <a:custGeom>
              <a:avLst/>
              <a:gdLst>
                <a:gd name="T0" fmla="*/ 334963 w 226"/>
                <a:gd name="T1" fmla="*/ 63500 h 40"/>
                <a:gd name="T2" fmla="*/ 19050 w 226"/>
                <a:gd name="T3" fmla="*/ 63500 h 40"/>
                <a:gd name="T4" fmla="*/ 0 w 226"/>
                <a:gd name="T5" fmla="*/ 42863 h 40"/>
                <a:gd name="T6" fmla="*/ 0 w 226"/>
                <a:gd name="T7" fmla="*/ 23813 h 40"/>
                <a:gd name="T8" fmla="*/ 19050 w 226"/>
                <a:gd name="T9" fmla="*/ 0 h 40"/>
                <a:gd name="T10" fmla="*/ 334963 w 226"/>
                <a:gd name="T11" fmla="*/ 0 h 40"/>
                <a:gd name="T12" fmla="*/ 358775 w 226"/>
                <a:gd name="T13" fmla="*/ 22225 h 40"/>
                <a:gd name="T14" fmla="*/ 358775 w 226"/>
                <a:gd name="T15" fmla="*/ 42863 h 40"/>
                <a:gd name="T16" fmla="*/ 334963 w 226"/>
                <a:gd name="T17" fmla="*/ 63500 h 4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26" h="40">
                  <a:moveTo>
                    <a:pt x="211" y="40"/>
                  </a:moveTo>
                  <a:lnTo>
                    <a:pt x="12" y="40"/>
                  </a:lnTo>
                  <a:lnTo>
                    <a:pt x="0" y="27"/>
                  </a:lnTo>
                  <a:lnTo>
                    <a:pt x="0" y="15"/>
                  </a:lnTo>
                  <a:lnTo>
                    <a:pt x="12" y="0"/>
                  </a:lnTo>
                  <a:lnTo>
                    <a:pt x="211" y="0"/>
                  </a:lnTo>
                  <a:lnTo>
                    <a:pt x="226" y="14"/>
                  </a:lnTo>
                  <a:lnTo>
                    <a:pt x="226" y="27"/>
                  </a:lnTo>
                  <a:lnTo>
                    <a:pt x="211" y="4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400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-1711325" y="3324225"/>
              <a:ext cx="315913" cy="142875"/>
            </a:xfrm>
            <a:custGeom>
              <a:avLst/>
              <a:gdLst>
                <a:gd name="T0" fmla="*/ 0 w 199"/>
                <a:gd name="T1" fmla="*/ 0 h 90"/>
                <a:gd name="T2" fmla="*/ 0 w 199"/>
                <a:gd name="T3" fmla="*/ 63500 h 90"/>
                <a:gd name="T4" fmla="*/ 123825 w 199"/>
                <a:gd name="T5" fmla="*/ 142875 h 90"/>
                <a:gd name="T6" fmla="*/ 195263 w 199"/>
                <a:gd name="T7" fmla="*/ 142875 h 90"/>
                <a:gd name="T8" fmla="*/ 315913 w 199"/>
                <a:gd name="T9" fmla="*/ 63500 h 90"/>
                <a:gd name="T10" fmla="*/ 315913 w 199"/>
                <a:gd name="T11" fmla="*/ 0 h 90"/>
                <a:gd name="T12" fmla="*/ 0 w 199"/>
                <a:gd name="T13" fmla="*/ 0 h 9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9" h="90">
                  <a:moveTo>
                    <a:pt x="0" y="0"/>
                  </a:moveTo>
                  <a:lnTo>
                    <a:pt x="0" y="40"/>
                  </a:lnTo>
                  <a:lnTo>
                    <a:pt x="78" y="90"/>
                  </a:lnTo>
                  <a:lnTo>
                    <a:pt x="123" y="90"/>
                  </a:lnTo>
                  <a:lnTo>
                    <a:pt x="199" y="40"/>
                  </a:lnTo>
                  <a:lnTo>
                    <a:pt x="19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400"/>
            </a:p>
          </p:txBody>
        </p:sp>
        <p:sp>
          <p:nvSpPr>
            <p:cNvPr id="18" name="Freeform 12"/>
            <p:cNvSpPr>
              <a:spLocks noEditPoints="1"/>
            </p:cNvSpPr>
            <p:nvPr/>
          </p:nvSpPr>
          <p:spPr bwMode="auto">
            <a:xfrm>
              <a:off x="-1890713" y="2309813"/>
              <a:ext cx="673100" cy="785813"/>
            </a:xfrm>
            <a:custGeom>
              <a:avLst/>
              <a:gdLst>
                <a:gd name="T0" fmla="*/ 337114 w 597"/>
                <a:gd name="T1" fmla="*/ 0 h 697"/>
                <a:gd name="T2" fmla="*/ 0 w 597"/>
                <a:gd name="T3" fmla="*/ 337099 h 697"/>
                <a:gd name="T4" fmla="*/ 93580 w 597"/>
                <a:gd name="T5" fmla="*/ 704639 h 697"/>
                <a:gd name="T6" fmla="*/ 95835 w 597"/>
                <a:gd name="T7" fmla="*/ 711403 h 697"/>
                <a:gd name="T8" fmla="*/ 175885 w 597"/>
                <a:gd name="T9" fmla="*/ 785813 h 697"/>
                <a:gd name="T10" fmla="*/ 498342 w 597"/>
                <a:gd name="T11" fmla="*/ 785813 h 697"/>
                <a:gd name="T12" fmla="*/ 564863 w 597"/>
                <a:gd name="T13" fmla="*/ 710276 h 697"/>
                <a:gd name="T14" fmla="*/ 565990 w 597"/>
                <a:gd name="T15" fmla="*/ 704639 h 697"/>
                <a:gd name="T16" fmla="*/ 673100 w 597"/>
                <a:gd name="T17" fmla="*/ 335972 h 697"/>
                <a:gd name="T18" fmla="*/ 337114 w 597"/>
                <a:gd name="T19" fmla="*/ 0 h 697"/>
                <a:gd name="T20" fmla="*/ 308927 w 597"/>
                <a:gd name="T21" fmla="*/ 722677 h 697"/>
                <a:gd name="T22" fmla="*/ 275103 w 597"/>
                <a:gd name="T23" fmla="*/ 452096 h 697"/>
                <a:gd name="T24" fmla="*/ 392360 w 597"/>
                <a:gd name="T25" fmla="*/ 452096 h 697"/>
                <a:gd name="T26" fmla="*/ 357408 w 597"/>
                <a:gd name="T27" fmla="*/ 722677 h 697"/>
                <a:gd name="T28" fmla="*/ 308927 w 597"/>
                <a:gd name="T29" fmla="*/ 722677 h 697"/>
                <a:gd name="T30" fmla="*/ 508489 w 597"/>
                <a:gd name="T31" fmla="*/ 678708 h 697"/>
                <a:gd name="T32" fmla="*/ 469028 w 597"/>
                <a:gd name="T33" fmla="*/ 722677 h 697"/>
                <a:gd name="T34" fmla="*/ 390105 w 597"/>
                <a:gd name="T35" fmla="*/ 722677 h 697"/>
                <a:gd name="T36" fmla="*/ 430694 w 597"/>
                <a:gd name="T37" fmla="*/ 394598 h 697"/>
                <a:gd name="T38" fmla="*/ 400252 w 597"/>
                <a:gd name="T39" fmla="*/ 390088 h 697"/>
                <a:gd name="T40" fmla="*/ 395742 w 597"/>
                <a:gd name="T41" fmla="*/ 420528 h 697"/>
                <a:gd name="T42" fmla="*/ 271720 w 597"/>
                <a:gd name="T43" fmla="*/ 420528 h 697"/>
                <a:gd name="T44" fmla="*/ 267211 w 597"/>
                <a:gd name="T45" fmla="*/ 391215 h 697"/>
                <a:gd name="T46" fmla="*/ 235641 w 597"/>
                <a:gd name="T47" fmla="*/ 394598 h 697"/>
                <a:gd name="T48" fmla="*/ 277358 w 597"/>
                <a:gd name="T49" fmla="*/ 722677 h 697"/>
                <a:gd name="T50" fmla="*/ 201817 w 597"/>
                <a:gd name="T51" fmla="*/ 722677 h 697"/>
                <a:gd name="T52" fmla="*/ 152209 w 597"/>
                <a:gd name="T53" fmla="*/ 677581 h 697"/>
                <a:gd name="T54" fmla="*/ 63138 w 597"/>
                <a:gd name="T55" fmla="*/ 333717 h 697"/>
                <a:gd name="T56" fmla="*/ 337114 w 597"/>
                <a:gd name="T57" fmla="*/ 63136 h 697"/>
                <a:gd name="T58" fmla="*/ 609962 w 597"/>
                <a:gd name="T59" fmla="*/ 333717 h 697"/>
                <a:gd name="T60" fmla="*/ 508489 w 597"/>
                <a:gd name="T61" fmla="*/ 678708 h 697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97" h="697">
                  <a:moveTo>
                    <a:pt x="299" y="0"/>
                  </a:moveTo>
                  <a:cubicBezTo>
                    <a:pt x="134" y="0"/>
                    <a:pt x="0" y="134"/>
                    <a:pt x="0" y="299"/>
                  </a:cubicBezTo>
                  <a:cubicBezTo>
                    <a:pt x="0" y="311"/>
                    <a:pt x="28" y="421"/>
                    <a:pt x="83" y="625"/>
                  </a:cubicBezTo>
                  <a:cubicBezTo>
                    <a:pt x="85" y="631"/>
                    <a:pt x="85" y="631"/>
                    <a:pt x="85" y="631"/>
                  </a:cubicBezTo>
                  <a:cubicBezTo>
                    <a:pt x="156" y="697"/>
                    <a:pt x="156" y="697"/>
                    <a:pt x="156" y="697"/>
                  </a:cubicBezTo>
                  <a:cubicBezTo>
                    <a:pt x="442" y="697"/>
                    <a:pt x="442" y="697"/>
                    <a:pt x="442" y="697"/>
                  </a:cubicBezTo>
                  <a:cubicBezTo>
                    <a:pt x="501" y="630"/>
                    <a:pt x="501" y="630"/>
                    <a:pt x="501" y="630"/>
                  </a:cubicBezTo>
                  <a:cubicBezTo>
                    <a:pt x="502" y="625"/>
                    <a:pt x="502" y="625"/>
                    <a:pt x="502" y="625"/>
                  </a:cubicBezTo>
                  <a:cubicBezTo>
                    <a:pt x="597" y="317"/>
                    <a:pt x="597" y="303"/>
                    <a:pt x="597" y="298"/>
                  </a:cubicBezTo>
                  <a:cubicBezTo>
                    <a:pt x="597" y="134"/>
                    <a:pt x="463" y="0"/>
                    <a:pt x="299" y="0"/>
                  </a:cubicBezTo>
                  <a:close/>
                  <a:moveTo>
                    <a:pt x="274" y="641"/>
                  </a:moveTo>
                  <a:cubicBezTo>
                    <a:pt x="244" y="401"/>
                    <a:pt x="244" y="401"/>
                    <a:pt x="244" y="401"/>
                  </a:cubicBezTo>
                  <a:cubicBezTo>
                    <a:pt x="348" y="401"/>
                    <a:pt x="348" y="401"/>
                    <a:pt x="348" y="401"/>
                  </a:cubicBezTo>
                  <a:cubicBezTo>
                    <a:pt x="317" y="641"/>
                    <a:pt x="317" y="641"/>
                    <a:pt x="317" y="641"/>
                  </a:cubicBezTo>
                  <a:lnTo>
                    <a:pt x="274" y="641"/>
                  </a:lnTo>
                  <a:close/>
                  <a:moveTo>
                    <a:pt x="451" y="602"/>
                  </a:moveTo>
                  <a:cubicBezTo>
                    <a:pt x="416" y="641"/>
                    <a:pt x="416" y="641"/>
                    <a:pt x="416" y="641"/>
                  </a:cubicBezTo>
                  <a:cubicBezTo>
                    <a:pt x="346" y="641"/>
                    <a:pt x="346" y="641"/>
                    <a:pt x="346" y="641"/>
                  </a:cubicBezTo>
                  <a:cubicBezTo>
                    <a:pt x="382" y="350"/>
                    <a:pt x="382" y="350"/>
                    <a:pt x="382" y="350"/>
                  </a:cubicBezTo>
                  <a:cubicBezTo>
                    <a:pt x="355" y="346"/>
                    <a:pt x="355" y="346"/>
                    <a:pt x="355" y="346"/>
                  </a:cubicBezTo>
                  <a:cubicBezTo>
                    <a:pt x="351" y="373"/>
                    <a:pt x="351" y="373"/>
                    <a:pt x="351" y="373"/>
                  </a:cubicBezTo>
                  <a:cubicBezTo>
                    <a:pt x="241" y="373"/>
                    <a:pt x="241" y="373"/>
                    <a:pt x="241" y="373"/>
                  </a:cubicBezTo>
                  <a:cubicBezTo>
                    <a:pt x="237" y="347"/>
                    <a:pt x="237" y="347"/>
                    <a:pt x="237" y="347"/>
                  </a:cubicBezTo>
                  <a:cubicBezTo>
                    <a:pt x="209" y="350"/>
                    <a:pt x="209" y="350"/>
                    <a:pt x="209" y="350"/>
                  </a:cubicBezTo>
                  <a:cubicBezTo>
                    <a:pt x="246" y="641"/>
                    <a:pt x="246" y="641"/>
                    <a:pt x="246" y="641"/>
                  </a:cubicBezTo>
                  <a:cubicBezTo>
                    <a:pt x="179" y="641"/>
                    <a:pt x="179" y="641"/>
                    <a:pt x="179" y="641"/>
                  </a:cubicBezTo>
                  <a:cubicBezTo>
                    <a:pt x="135" y="601"/>
                    <a:pt x="135" y="601"/>
                    <a:pt x="135" y="601"/>
                  </a:cubicBezTo>
                  <a:cubicBezTo>
                    <a:pt x="105" y="490"/>
                    <a:pt x="59" y="318"/>
                    <a:pt x="56" y="296"/>
                  </a:cubicBezTo>
                  <a:cubicBezTo>
                    <a:pt x="57" y="163"/>
                    <a:pt x="165" y="56"/>
                    <a:pt x="299" y="56"/>
                  </a:cubicBezTo>
                  <a:cubicBezTo>
                    <a:pt x="432" y="56"/>
                    <a:pt x="540" y="163"/>
                    <a:pt x="541" y="296"/>
                  </a:cubicBezTo>
                  <a:cubicBezTo>
                    <a:pt x="537" y="319"/>
                    <a:pt x="484" y="492"/>
                    <a:pt x="451" y="60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400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-2106613" y="2311400"/>
              <a:ext cx="198438" cy="141288"/>
            </a:xfrm>
            <a:custGeom>
              <a:avLst/>
              <a:gdLst>
                <a:gd name="T0" fmla="*/ 182563 w 125"/>
                <a:gd name="T1" fmla="*/ 141288 h 89"/>
                <a:gd name="T2" fmla="*/ 0 w 125"/>
                <a:gd name="T3" fmla="*/ 26988 h 89"/>
                <a:gd name="T4" fmla="*/ 15875 w 125"/>
                <a:gd name="T5" fmla="*/ 0 h 89"/>
                <a:gd name="T6" fmla="*/ 198438 w 125"/>
                <a:gd name="T7" fmla="*/ 114300 h 89"/>
                <a:gd name="T8" fmla="*/ 182563 w 125"/>
                <a:gd name="T9" fmla="*/ 141288 h 8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5" h="89">
                  <a:moveTo>
                    <a:pt x="115" y="89"/>
                  </a:moveTo>
                  <a:lnTo>
                    <a:pt x="0" y="17"/>
                  </a:lnTo>
                  <a:lnTo>
                    <a:pt x="10" y="0"/>
                  </a:lnTo>
                  <a:lnTo>
                    <a:pt x="125" y="72"/>
                  </a:lnTo>
                  <a:lnTo>
                    <a:pt x="115" y="89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400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-1204913" y="2311400"/>
              <a:ext cx="198438" cy="141288"/>
            </a:xfrm>
            <a:custGeom>
              <a:avLst/>
              <a:gdLst>
                <a:gd name="T0" fmla="*/ 15875 w 125"/>
                <a:gd name="T1" fmla="*/ 141288 h 89"/>
                <a:gd name="T2" fmla="*/ 0 w 125"/>
                <a:gd name="T3" fmla="*/ 114300 h 89"/>
                <a:gd name="T4" fmla="*/ 182563 w 125"/>
                <a:gd name="T5" fmla="*/ 0 h 89"/>
                <a:gd name="T6" fmla="*/ 198438 w 125"/>
                <a:gd name="T7" fmla="*/ 26988 h 89"/>
                <a:gd name="T8" fmla="*/ 15875 w 125"/>
                <a:gd name="T9" fmla="*/ 141288 h 8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5" h="89">
                  <a:moveTo>
                    <a:pt x="10" y="89"/>
                  </a:moveTo>
                  <a:lnTo>
                    <a:pt x="0" y="72"/>
                  </a:lnTo>
                  <a:lnTo>
                    <a:pt x="115" y="0"/>
                  </a:lnTo>
                  <a:lnTo>
                    <a:pt x="125" y="17"/>
                  </a:lnTo>
                  <a:lnTo>
                    <a:pt x="10" y="89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400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-2105025" y="2873375"/>
              <a:ext cx="200025" cy="141288"/>
            </a:xfrm>
            <a:custGeom>
              <a:avLst/>
              <a:gdLst>
                <a:gd name="T0" fmla="*/ 17463 w 126"/>
                <a:gd name="T1" fmla="*/ 141288 h 89"/>
                <a:gd name="T2" fmla="*/ 0 w 126"/>
                <a:gd name="T3" fmla="*/ 112713 h 89"/>
                <a:gd name="T4" fmla="*/ 182563 w 126"/>
                <a:gd name="T5" fmla="*/ 0 h 89"/>
                <a:gd name="T6" fmla="*/ 200025 w 126"/>
                <a:gd name="T7" fmla="*/ 26988 h 89"/>
                <a:gd name="T8" fmla="*/ 17463 w 126"/>
                <a:gd name="T9" fmla="*/ 141288 h 8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6" h="89">
                  <a:moveTo>
                    <a:pt x="11" y="89"/>
                  </a:moveTo>
                  <a:lnTo>
                    <a:pt x="0" y="71"/>
                  </a:lnTo>
                  <a:lnTo>
                    <a:pt x="115" y="0"/>
                  </a:lnTo>
                  <a:lnTo>
                    <a:pt x="126" y="17"/>
                  </a:lnTo>
                  <a:lnTo>
                    <a:pt x="11" y="89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400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-2182813" y="2657475"/>
              <a:ext cx="215900" cy="33338"/>
            </a:xfrm>
            <a:custGeom>
              <a:avLst/>
              <a:gdLst>
                <a:gd name="T0" fmla="*/ 215900 w 136"/>
                <a:gd name="T1" fmla="*/ 33338 h 21"/>
                <a:gd name="T2" fmla="*/ 0 w 136"/>
                <a:gd name="T3" fmla="*/ 31750 h 21"/>
                <a:gd name="T4" fmla="*/ 1588 w 136"/>
                <a:gd name="T5" fmla="*/ 0 h 21"/>
                <a:gd name="T6" fmla="*/ 215900 w 136"/>
                <a:gd name="T7" fmla="*/ 1588 h 21"/>
                <a:gd name="T8" fmla="*/ 215900 w 136"/>
                <a:gd name="T9" fmla="*/ 33338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6" h="21">
                  <a:moveTo>
                    <a:pt x="136" y="21"/>
                  </a:moveTo>
                  <a:lnTo>
                    <a:pt x="0" y="20"/>
                  </a:lnTo>
                  <a:lnTo>
                    <a:pt x="1" y="0"/>
                  </a:lnTo>
                  <a:lnTo>
                    <a:pt x="136" y="1"/>
                  </a:lnTo>
                  <a:lnTo>
                    <a:pt x="136" y="21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400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-1139825" y="2655888"/>
              <a:ext cx="215900" cy="33338"/>
            </a:xfrm>
            <a:custGeom>
              <a:avLst/>
              <a:gdLst>
                <a:gd name="T0" fmla="*/ 215900 w 136"/>
                <a:gd name="T1" fmla="*/ 33338 h 21"/>
                <a:gd name="T2" fmla="*/ 0 w 136"/>
                <a:gd name="T3" fmla="*/ 31750 h 21"/>
                <a:gd name="T4" fmla="*/ 0 w 136"/>
                <a:gd name="T5" fmla="*/ 0 h 21"/>
                <a:gd name="T6" fmla="*/ 215900 w 136"/>
                <a:gd name="T7" fmla="*/ 1588 h 21"/>
                <a:gd name="T8" fmla="*/ 215900 w 136"/>
                <a:gd name="T9" fmla="*/ 33338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6" h="21">
                  <a:moveTo>
                    <a:pt x="136" y="21"/>
                  </a:moveTo>
                  <a:lnTo>
                    <a:pt x="0" y="20"/>
                  </a:lnTo>
                  <a:lnTo>
                    <a:pt x="0" y="0"/>
                  </a:lnTo>
                  <a:lnTo>
                    <a:pt x="136" y="1"/>
                  </a:lnTo>
                  <a:lnTo>
                    <a:pt x="136" y="21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400"/>
            </a:p>
          </p:txBody>
        </p:sp>
        <p:sp>
          <p:nvSpPr>
            <p:cNvPr id="24" name="Freeform 18"/>
            <p:cNvSpPr>
              <a:spLocks/>
            </p:cNvSpPr>
            <p:nvPr/>
          </p:nvSpPr>
          <p:spPr bwMode="auto">
            <a:xfrm>
              <a:off x="-1203325" y="2873375"/>
              <a:ext cx="200025" cy="141288"/>
            </a:xfrm>
            <a:custGeom>
              <a:avLst/>
              <a:gdLst>
                <a:gd name="T0" fmla="*/ 182563 w 126"/>
                <a:gd name="T1" fmla="*/ 141288 h 89"/>
                <a:gd name="T2" fmla="*/ 0 w 126"/>
                <a:gd name="T3" fmla="*/ 26988 h 89"/>
                <a:gd name="T4" fmla="*/ 17463 w 126"/>
                <a:gd name="T5" fmla="*/ 0 h 89"/>
                <a:gd name="T6" fmla="*/ 200025 w 126"/>
                <a:gd name="T7" fmla="*/ 112713 h 89"/>
                <a:gd name="T8" fmla="*/ 182563 w 126"/>
                <a:gd name="T9" fmla="*/ 141288 h 8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6" h="89">
                  <a:moveTo>
                    <a:pt x="115" y="89"/>
                  </a:moveTo>
                  <a:lnTo>
                    <a:pt x="0" y="17"/>
                  </a:lnTo>
                  <a:lnTo>
                    <a:pt x="11" y="0"/>
                  </a:lnTo>
                  <a:lnTo>
                    <a:pt x="126" y="71"/>
                  </a:lnTo>
                  <a:lnTo>
                    <a:pt x="115" y="89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400"/>
            </a:p>
          </p:txBody>
        </p:sp>
      </p:grpSp>
      <p:grpSp>
        <p:nvGrpSpPr>
          <p:cNvPr id="4" name="Gruppieren 25"/>
          <p:cNvGrpSpPr>
            <a:grpSpLocks/>
          </p:cNvGrpSpPr>
          <p:nvPr userDrawn="1">
            <p:custDataLst>
              <p:tags r:id="rId5"/>
            </p:custDataLst>
          </p:nvPr>
        </p:nvGrpSpPr>
        <p:grpSpPr bwMode="auto">
          <a:xfrm>
            <a:off x="358776" y="1203325"/>
            <a:ext cx="431800" cy="431800"/>
            <a:chOff x="-1949450" y="438150"/>
            <a:chExt cx="1150938" cy="1149350"/>
          </a:xfrm>
        </p:grpSpPr>
        <p:sp>
          <p:nvSpPr>
            <p:cNvPr id="26" name="Freeform 24"/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-1949450" y="438150"/>
              <a:ext cx="1150938" cy="1149350"/>
            </a:xfrm>
            <a:custGeom>
              <a:avLst/>
              <a:gdLst>
                <a:gd name="T0" fmla="*/ 1104900 w 725"/>
                <a:gd name="T1" fmla="*/ 46038 h 724"/>
                <a:gd name="T2" fmla="*/ 1104900 w 725"/>
                <a:gd name="T3" fmla="*/ 1103313 h 724"/>
                <a:gd name="T4" fmla="*/ 46038 w 725"/>
                <a:gd name="T5" fmla="*/ 1103313 h 724"/>
                <a:gd name="T6" fmla="*/ 46038 w 725"/>
                <a:gd name="T7" fmla="*/ 46038 h 724"/>
                <a:gd name="T8" fmla="*/ 1104900 w 725"/>
                <a:gd name="T9" fmla="*/ 46038 h 724"/>
                <a:gd name="T10" fmla="*/ 1150938 w 725"/>
                <a:gd name="T11" fmla="*/ 0 h 724"/>
                <a:gd name="T12" fmla="*/ 0 w 725"/>
                <a:gd name="T13" fmla="*/ 0 h 724"/>
                <a:gd name="T14" fmla="*/ 0 w 725"/>
                <a:gd name="T15" fmla="*/ 1149350 h 724"/>
                <a:gd name="T16" fmla="*/ 1150938 w 725"/>
                <a:gd name="T17" fmla="*/ 1149350 h 724"/>
                <a:gd name="T18" fmla="*/ 1150938 w 725"/>
                <a:gd name="T19" fmla="*/ 0 h 724"/>
                <a:gd name="T20" fmla="*/ 1150938 w 725"/>
                <a:gd name="T21" fmla="*/ 0 h 7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725" h="724">
                  <a:moveTo>
                    <a:pt x="696" y="29"/>
                  </a:moveTo>
                  <a:lnTo>
                    <a:pt x="696" y="695"/>
                  </a:lnTo>
                  <a:lnTo>
                    <a:pt x="29" y="695"/>
                  </a:lnTo>
                  <a:lnTo>
                    <a:pt x="29" y="29"/>
                  </a:lnTo>
                  <a:lnTo>
                    <a:pt x="696" y="29"/>
                  </a:lnTo>
                  <a:close/>
                  <a:moveTo>
                    <a:pt x="725" y="0"/>
                  </a:moveTo>
                  <a:lnTo>
                    <a:pt x="0" y="0"/>
                  </a:lnTo>
                  <a:lnTo>
                    <a:pt x="0" y="724"/>
                  </a:lnTo>
                  <a:lnTo>
                    <a:pt x="725" y="724"/>
                  </a:lnTo>
                  <a:lnTo>
                    <a:pt x="725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400"/>
            </a:p>
          </p:txBody>
        </p:sp>
        <p:grpSp>
          <p:nvGrpSpPr>
            <p:cNvPr id="5" name="Gruppieren 27"/>
            <p:cNvGrpSpPr>
              <a:grpSpLocks/>
            </p:cNvGrpSpPr>
            <p:nvPr>
              <p:custDataLst>
                <p:tags r:id="rId7"/>
              </p:custDataLst>
            </p:nvPr>
          </p:nvGrpSpPr>
          <p:grpSpPr bwMode="auto">
            <a:xfrm>
              <a:off x="-1949450" y="438150"/>
              <a:ext cx="1150938" cy="1149350"/>
              <a:chOff x="-1949450" y="438150"/>
              <a:chExt cx="1150938" cy="1149350"/>
            </a:xfrm>
          </p:grpSpPr>
          <p:sp>
            <p:nvSpPr>
              <p:cNvPr id="28" name="Freeform 25"/>
              <p:cNvSpPr>
                <a:spLocks noEditPoints="1"/>
              </p:cNvSpPr>
              <p:nvPr/>
            </p:nvSpPr>
            <p:spPr bwMode="auto">
              <a:xfrm>
                <a:off x="-1949450" y="438150"/>
                <a:ext cx="1150938" cy="1149350"/>
              </a:xfrm>
              <a:custGeom>
                <a:avLst/>
                <a:gdLst>
                  <a:gd name="T0" fmla="*/ 1104900 w 725"/>
                  <a:gd name="T1" fmla="*/ 46038 h 724"/>
                  <a:gd name="T2" fmla="*/ 1104900 w 725"/>
                  <a:gd name="T3" fmla="*/ 1103313 h 724"/>
                  <a:gd name="T4" fmla="*/ 46038 w 725"/>
                  <a:gd name="T5" fmla="*/ 1103313 h 724"/>
                  <a:gd name="T6" fmla="*/ 46038 w 725"/>
                  <a:gd name="T7" fmla="*/ 46038 h 724"/>
                  <a:gd name="T8" fmla="*/ 1104900 w 725"/>
                  <a:gd name="T9" fmla="*/ 46038 h 724"/>
                  <a:gd name="T10" fmla="*/ 1150938 w 725"/>
                  <a:gd name="T11" fmla="*/ 0 h 724"/>
                  <a:gd name="T12" fmla="*/ 0 w 725"/>
                  <a:gd name="T13" fmla="*/ 0 h 724"/>
                  <a:gd name="T14" fmla="*/ 0 w 725"/>
                  <a:gd name="T15" fmla="*/ 1149350 h 724"/>
                  <a:gd name="T16" fmla="*/ 1150938 w 725"/>
                  <a:gd name="T17" fmla="*/ 1149350 h 724"/>
                  <a:gd name="T18" fmla="*/ 1150938 w 725"/>
                  <a:gd name="T19" fmla="*/ 0 h 724"/>
                  <a:gd name="T20" fmla="*/ 1150938 w 725"/>
                  <a:gd name="T21" fmla="*/ 0 h 72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725" h="724">
                    <a:moveTo>
                      <a:pt x="696" y="29"/>
                    </a:moveTo>
                    <a:lnTo>
                      <a:pt x="696" y="695"/>
                    </a:lnTo>
                    <a:lnTo>
                      <a:pt x="29" y="695"/>
                    </a:lnTo>
                    <a:lnTo>
                      <a:pt x="29" y="29"/>
                    </a:lnTo>
                    <a:lnTo>
                      <a:pt x="696" y="29"/>
                    </a:lnTo>
                    <a:moveTo>
                      <a:pt x="725" y="0"/>
                    </a:moveTo>
                    <a:lnTo>
                      <a:pt x="0" y="0"/>
                    </a:lnTo>
                    <a:lnTo>
                      <a:pt x="0" y="724"/>
                    </a:lnTo>
                    <a:lnTo>
                      <a:pt x="725" y="724"/>
                    </a:lnTo>
                    <a:lnTo>
                      <a:pt x="72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 sz="2400"/>
              </a:p>
            </p:txBody>
          </p:sp>
          <p:sp>
            <p:nvSpPr>
              <p:cNvPr id="29" name="Freeform 26"/>
              <p:cNvSpPr>
                <a:spLocks noEditPoint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-1660525" y="619125"/>
                <a:ext cx="574675" cy="788988"/>
              </a:xfrm>
              <a:custGeom>
                <a:avLst/>
                <a:gdLst>
                  <a:gd name="T0" fmla="*/ 0 w 698"/>
                  <a:gd name="T1" fmla="*/ 203822 h 960"/>
                  <a:gd name="T2" fmla="*/ 300511 w 698"/>
                  <a:gd name="T3" fmla="*/ 0 h 960"/>
                  <a:gd name="T4" fmla="*/ 574675 w 698"/>
                  <a:gd name="T5" fmla="*/ 204644 h 960"/>
                  <a:gd name="T6" fmla="*/ 482464 w 698"/>
                  <a:gd name="T7" fmla="*/ 372304 h 960"/>
                  <a:gd name="T8" fmla="*/ 357319 w 698"/>
                  <a:gd name="T9" fmla="*/ 462709 h 960"/>
                  <a:gd name="T10" fmla="*/ 317800 w 698"/>
                  <a:gd name="T11" fmla="*/ 522705 h 960"/>
                  <a:gd name="T12" fmla="*/ 178660 w 698"/>
                  <a:gd name="T13" fmla="*/ 522705 h 960"/>
                  <a:gd name="T14" fmla="*/ 224765 w 698"/>
                  <a:gd name="T15" fmla="*/ 400247 h 960"/>
                  <a:gd name="T16" fmla="*/ 317800 w 698"/>
                  <a:gd name="T17" fmla="*/ 329567 h 960"/>
                  <a:gd name="T18" fmla="*/ 390252 w 698"/>
                  <a:gd name="T19" fmla="*/ 223547 h 960"/>
                  <a:gd name="T20" fmla="*/ 288161 w 698"/>
                  <a:gd name="T21" fmla="*/ 124923 h 960"/>
                  <a:gd name="T22" fmla="*/ 156430 w 698"/>
                  <a:gd name="T23" fmla="*/ 253956 h 960"/>
                  <a:gd name="T24" fmla="*/ 0 w 698"/>
                  <a:gd name="T25" fmla="*/ 203822 h 960"/>
                  <a:gd name="T26" fmla="*/ 163017 w 698"/>
                  <a:gd name="T27" fmla="*/ 602425 h 960"/>
                  <a:gd name="T28" fmla="*/ 336736 w 698"/>
                  <a:gd name="T29" fmla="*/ 602425 h 960"/>
                  <a:gd name="T30" fmla="*/ 336736 w 698"/>
                  <a:gd name="T31" fmla="*/ 788988 h 960"/>
                  <a:gd name="T32" fmla="*/ 163017 w 698"/>
                  <a:gd name="T33" fmla="*/ 788988 h 960"/>
                  <a:gd name="T34" fmla="*/ 163017 w 698"/>
                  <a:gd name="T35" fmla="*/ 602425 h 960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698" h="960">
                    <a:moveTo>
                      <a:pt x="0" y="248"/>
                    </a:moveTo>
                    <a:cubicBezTo>
                      <a:pt x="49" y="85"/>
                      <a:pt x="168" y="0"/>
                      <a:pt x="365" y="0"/>
                    </a:cubicBezTo>
                    <a:cubicBezTo>
                      <a:pt x="609" y="0"/>
                      <a:pt x="698" y="127"/>
                      <a:pt x="698" y="249"/>
                    </a:cubicBezTo>
                    <a:cubicBezTo>
                      <a:pt x="698" y="368"/>
                      <a:pt x="624" y="424"/>
                      <a:pt x="586" y="453"/>
                    </a:cubicBezTo>
                    <a:cubicBezTo>
                      <a:pt x="537" y="491"/>
                      <a:pt x="485" y="523"/>
                      <a:pt x="434" y="563"/>
                    </a:cubicBezTo>
                    <a:cubicBezTo>
                      <a:pt x="397" y="592"/>
                      <a:pt x="393" y="604"/>
                      <a:pt x="386" y="636"/>
                    </a:cubicBezTo>
                    <a:cubicBezTo>
                      <a:pt x="217" y="636"/>
                      <a:pt x="217" y="636"/>
                      <a:pt x="217" y="636"/>
                    </a:cubicBezTo>
                    <a:cubicBezTo>
                      <a:pt x="220" y="576"/>
                      <a:pt x="222" y="537"/>
                      <a:pt x="273" y="487"/>
                    </a:cubicBezTo>
                    <a:cubicBezTo>
                      <a:pt x="308" y="452"/>
                      <a:pt x="348" y="428"/>
                      <a:pt x="386" y="401"/>
                    </a:cubicBezTo>
                    <a:cubicBezTo>
                      <a:pt x="409" y="385"/>
                      <a:pt x="474" y="339"/>
                      <a:pt x="474" y="272"/>
                    </a:cubicBezTo>
                    <a:cubicBezTo>
                      <a:pt x="474" y="241"/>
                      <a:pt x="464" y="152"/>
                      <a:pt x="350" y="152"/>
                    </a:cubicBezTo>
                    <a:cubicBezTo>
                      <a:pt x="242" y="152"/>
                      <a:pt x="190" y="232"/>
                      <a:pt x="190" y="309"/>
                    </a:cubicBezTo>
                    <a:lnTo>
                      <a:pt x="0" y="248"/>
                    </a:lnTo>
                    <a:close/>
                    <a:moveTo>
                      <a:pt x="198" y="733"/>
                    </a:moveTo>
                    <a:cubicBezTo>
                      <a:pt x="409" y="733"/>
                      <a:pt x="409" y="733"/>
                      <a:pt x="409" y="733"/>
                    </a:cubicBezTo>
                    <a:cubicBezTo>
                      <a:pt x="409" y="960"/>
                      <a:pt x="409" y="960"/>
                      <a:pt x="409" y="960"/>
                    </a:cubicBezTo>
                    <a:cubicBezTo>
                      <a:pt x="198" y="960"/>
                      <a:pt x="198" y="960"/>
                      <a:pt x="198" y="960"/>
                    </a:cubicBezTo>
                    <a:lnTo>
                      <a:pt x="198" y="733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 sz="2400"/>
              </a:p>
            </p:txBody>
          </p:sp>
        </p:grp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8775" y="378001"/>
            <a:ext cx="8424000" cy="369332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35000"/>
            <a:ext cx="8424000" cy="184666"/>
          </a:xfrm>
        </p:spPr>
        <p:txBody>
          <a:bodyPr tIns="0" bIns="0">
            <a:noAutofit/>
          </a:bodyPr>
          <a:lstStyle>
            <a:lvl1pPr>
              <a:defRPr sz="12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chapter</a:t>
            </a:r>
            <a:endParaRPr lang="de-DE" dirty="0"/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08468" y="1491630"/>
            <a:ext cx="7776000" cy="7200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 marL="359991" marR="0" indent="-18359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Symbol" pitchFamily="18" charset="2"/>
              <a:buChar char="-"/>
              <a:tabLst/>
              <a:defRPr sz="1400">
                <a:solidFill>
                  <a:schemeClr val="tx1"/>
                </a:solidFill>
              </a:defRPr>
            </a:lvl3pPr>
            <a:lvl4pPr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2"/>
            <a:endParaRPr lang="de-DE" dirty="0"/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1008468" y="2679762"/>
            <a:ext cx="7776000" cy="12600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34" name="Fußzeilenplatzhalt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dirty="0"/>
          </a:p>
        </p:txBody>
      </p:sp>
      <p:sp>
        <p:nvSpPr>
          <p:cNvPr id="35" name="Foliennummernplatzhalt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A6D7B5-D6A6-458E-A50C-114F9E83F44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008468" y="1203630"/>
            <a:ext cx="7776000" cy="28800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itchFamily="18" charset="2"/>
              <a:buNone/>
              <a:tabLst/>
              <a:defRPr sz="1800" b="1">
                <a:solidFill>
                  <a:schemeClr val="tx2"/>
                </a:solidFill>
              </a:defRPr>
            </a:lvl3pPr>
            <a:lvl4pPr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de-DE" dirty="0"/>
              <a:t>The </a:t>
            </a:r>
            <a:r>
              <a:rPr lang="de-DE" dirty="0" err="1"/>
              <a:t>challenge</a:t>
            </a:r>
            <a:r>
              <a:rPr lang="de-DE" dirty="0"/>
              <a:t>: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008468" y="2391762"/>
            <a:ext cx="7776000" cy="28800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itchFamily="18" charset="2"/>
              <a:buNone/>
              <a:tabLst/>
              <a:defRPr sz="1800" b="1">
                <a:solidFill>
                  <a:schemeClr val="tx2"/>
                </a:solidFill>
              </a:defRPr>
            </a:lvl3pPr>
            <a:lvl4pPr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de-DE" dirty="0"/>
              <a:t>The </a:t>
            </a:r>
            <a:r>
              <a:rPr lang="de-DE" dirty="0" err="1"/>
              <a:t>solution</a:t>
            </a:r>
            <a:r>
              <a:rPr lang="de-DE" dirty="0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9085250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enefi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7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VCT_Marker_ID_4" hidden="1"/>
          <p:cNvSpPr/>
          <p:nvPr userDrawn="1">
            <p:custDataLst>
              <p:tags r:id="rId3"/>
            </p:custDataLst>
          </p:nvPr>
        </p:nvSpPr>
        <p:spPr>
          <a:xfrm>
            <a:off x="1270001" y="127001"/>
            <a:ext cx="127000" cy="127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/>
          </a:p>
        </p:txBody>
      </p:sp>
      <p:sp>
        <p:nvSpPr>
          <p:cNvPr id="9" name="Line 15"/>
          <p:cNvSpPr>
            <a:spLocks noChangeShapeType="1"/>
          </p:cNvSpPr>
          <p:nvPr userDrawn="1"/>
        </p:nvSpPr>
        <p:spPr bwMode="auto">
          <a:xfrm flipV="1">
            <a:off x="358776" y="4597400"/>
            <a:ext cx="842327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 sz="2400"/>
          </a:p>
        </p:txBody>
      </p:sp>
      <p:pic>
        <p:nvPicPr>
          <p:cNvPr id="11" name="Grafik 8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1213" y="4621213"/>
            <a:ext cx="360362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Gruppieren 11"/>
          <p:cNvGrpSpPr>
            <a:grpSpLocks/>
          </p:cNvGrpSpPr>
          <p:nvPr userDrawn="1"/>
        </p:nvGrpSpPr>
        <p:grpSpPr bwMode="auto">
          <a:xfrm>
            <a:off x="359781" y="2895600"/>
            <a:ext cx="431800" cy="431800"/>
            <a:chOff x="359532" y="2427734"/>
            <a:chExt cx="396000" cy="396000"/>
          </a:xfrm>
        </p:grpSpPr>
        <p:grpSp>
          <p:nvGrpSpPr>
            <p:cNvPr id="4" name="Gruppieren 92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auto">
            <a:xfrm>
              <a:off x="359532" y="2427734"/>
              <a:ext cx="396000" cy="396000"/>
              <a:chOff x="-2343150" y="2098675"/>
              <a:chExt cx="1581150" cy="1581150"/>
            </a:xfrm>
          </p:grpSpPr>
          <p:sp>
            <p:nvSpPr>
              <p:cNvPr id="21" name="AutoShape 4"/>
              <p:cNvSpPr>
                <a:spLocks noChangeAspect="1" noChangeArrowheads="1" noTextEdit="1"/>
              </p:cNvSpPr>
              <p:nvPr/>
            </p:nvSpPr>
            <p:spPr bwMode="auto">
              <a:xfrm>
                <a:off x="-2343150" y="2098675"/>
                <a:ext cx="1581150" cy="15811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 sz="2400"/>
              </a:p>
            </p:txBody>
          </p:sp>
          <p:sp>
            <p:nvSpPr>
              <p:cNvPr id="22" name="Freeform 7"/>
              <p:cNvSpPr>
                <a:spLocks noEditPoints="1"/>
              </p:cNvSpPr>
              <p:nvPr/>
            </p:nvSpPr>
            <p:spPr bwMode="auto">
              <a:xfrm>
                <a:off x="-2343150" y="2098675"/>
                <a:ext cx="1579563" cy="1579563"/>
              </a:xfrm>
              <a:custGeom>
                <a:avLst/>
                <a:gdLst>
                  <a:gd name="T0" fmla="*/ 2147483647 w 995"/>
                  <a:gd name="T1" fmla="*/ 2147483647 h 995"/>
                  <a:gd name="T2" fmla="*/ 2147483647 w 995"/>
                  <a:gd name="T3" fmla="*/ 2147483647 h 995"/>
                  <a:gd name="T4" fmla="*/ 2147483647 w 995"/>
                  <a:gd name="T5" fmla="*/ 2147483647 h 995"/>
                  <a:gd name="T6" fmla="*/ 2147483647 w 995"/>
                  <a:gd name="T7" fmla="*/ 2147483647 h 995"/>
                  <a:gd name="T8" fmla="*/ 2147483647 w 995"/>
                  <a:gd name="T9" fmla="*/ 2147483647 h 995"/>
                  <a:gd name="T10" fmla="*/ 2147483647 w 995"/>
                  <a:gd name="T11" fmla="*/ 0 h 995"/>
                  <a:gd name="T12" fmla="*/ 0 w 995"/>
                  <a:gd name="T13" fmla="*/ 0 h 995"/>
                  <a:gd name="T14" fmla="*/ 0 w 995"/>
                  <a:gd name="T15" fmla="*/ 2147483647 h 995"/>
                  <a:gd name="T16" fmla="*/ 2147483647 w 995"/>
                  <a:gd name="T17" fmla="*/ 2147483647 h 995"/>
                  <a:gd name="T18" fmla="*/ 2147483647 w 995"/>
                  <a:gd name="T19" fmla="*/ 0 h 995"/>
                  <a:gd name="T20" fmla="*/ 2147483647 w 995"/>
                  <a:gd name="T21" fmla="*/ 0 h 99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995"/>
                  <a:gd name="T34" fmla="*/ 0 h 995"/>
                  <a:gd name="T35" fmla="*/ 995 w 995"/>
                  <a:gd name="T36" fmla="*/ 995 h 99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995" h="995">
                    <a:moveTo>
                      <a:pt x="955" y="40"/>
                    </a:moveTo>
                    <a:lnTo>
                      <a:pt x="955" y="955"/>
                    </a:lnTo>
                    <a:lnTo>
                      <a:pt x="40" y="955"/>
                    </a:lnTo>
                    <a:lnTo>
                      <a:pt x="40" y="40"/>
                    </a:lnTo>
                    <a:lnTo>
                      <a:pt x="955" y="40"/>
                    </a:lnTo>
                    <a:close/>
                    <a:moveTo>
                      <a:pt x="995" y="0"/>
                    </a:moveTo>
                    <a:lnTo>
                      <a:pt x="0" y="0"/>
                    </a:lnTo>
                    <a:lnTo>
                      <a:pt x="0" y="995"/>
                    </a:lnTo>
                    <a:lnTo>
                      <a:pt x="995" y="995"/>
                    </a:lnTo>
                    <a:lnTo>
                      <a:pt x="995" y="0"/>
                    </a:lnTo>
                    <a:close/>
                  </a:path>
                </a:pathLst>
              </a:custGeom>
              <a:solidFill>
                <a:srgbClr val="5151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 sz="2400"/>
              </a:p>
            </p:txBody>
          </p:sp>
          <p:sp>
            <p:nvSpPr>
              <p:cNvPr id="23" name="Freeform 8"/>
              <p:cNvSpPr>
                <a:spLocks noEditPoint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-2343150" y="2098675"/>
                <a:ext cx="1579563" cy="1579563"/>
              </a:xfrm>
              <a:custGeom>
                <a:avLst/>
                <a:gdLst>
                  <a:gd name="T0" fmla="*/ 2147483647 w 995"/>
                  <a:gd name="T1" fmla="*/ 2147483647 h 995"/>
                  <a:gd name="T2" fmla="*/ 2147483647 w 995"/>
                  <a:gd name="T3" fmla="*/ 2147483647 h 995"/>
                  <a:gd name="T4" fmla="*/ 2147483647 w 995"/>
                  <a:gd name="T5" fmla="*/ 2147483647 h 995"/>
                  <a:gd name="T6" fmla="*/ 2147483647 w 995"/>
                  <a:gd name="T7" fmla="*/ 2147483647 h 995"/>
                  <a:gd name="T8" fmla="*/ 2147483647 w 995"/>
                  <a:gd name="T9" fmla="*/ 2147483647 h 995"/>
                  <a:gd name="T10" fmla="*/ 2147483647 w 995"/>
                  <a:gd name="T11" fmla="*/ 0 h 995"/>
                  <a:gd name="T12" fmla="*/ 0 w 995"/>
                  <a:gd name="T13" fmla="*/ 0 h 995"/>
                  <a:gd name="T14" fmla="*/ 0 w 995"/>
                  <a:gd name="T15" fmla="*/ 2147483647 h 995"/>
                  <a:gd name="T16" fmla="*/ 2147483647 w 995"/>
                  <a:gd name="T17" fmla="*/ 2147483647 h 995"/>
                  <a:gd name="T18" fmla="*/ 2147483647 w 995"/>
                  <a:gd name="T19" fmla="*/ 0 h 995"/>
                  <a:gd name="T20" fmla="*/ 2147483647 w 995"/>
                  <a:gd name="T21" fmla="*/ 0 h 99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995"/>
                  <a:gd name="T34" fmla="*/ 0 h 995"/>
                  <a:gd name="T35" fmla="*/ 995 w 995"/>
                  <a:gd name="T36" fmla="*/ 995 h 99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995" h="995">
                    <a:moveTo>
                      <a:pt x="955" y="40"/>
                    </a:moveTo>
                    <a:lnTo>
                      <a:pt x="955" y="955"/>
                    </a:lnTo>
                    <a:lnTo>
                      <a:pt x="40" y="955"/>
                    </a:lnTo>
                    <a:lnTo>
                      <a:pt x="40" y="40"/>
                    </a:lnTo>
                    <a:lnTo>
                      <a:pt x="955" y="40"/>
                    </a:lnTo>
                    <a:moveTo>
                      <a:pt x="995" y="0"/>
                    </a:moveTo>
                    <a:lnTo>
                      <a:pt x="0" y="0"/>
                    </a:lnTo>
                    <a:lnTo>
                      <a:pt x="0" y="995"/>
                    </a:lnTo>
                    <a:lnTo>
                      <a:pt x="995" y="995"/>
                    </a:lnTo>
                    <a:lnTo>
                      <a:pt x="995" y="0"/>
                    </a:lnTo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 sz="2400"/>
              </a:p>
            </p:txBody>
          </p:sp>
        </p:grpSp>
        <p:grpSp>
          <p:nvGrpSpPr>
            <p:cNvPr id="5" name="Gruppieren 10"/>
            <p:cNvGrpSpPr>
              <a:grpSpLocks/>
            </p:cNvGrpSpPr>
            <p:nvPr/>
          </p:nvGrpSpPr>
          <p:grpSpPr bwMode="auto">
            <a:xfrm>
              <a:off x="412224" y="2524326"/>
              <a:ext cx="290616" cy="202816"/>
              <a:chOff x="-596601" y="2749808"/>
              <a:chExt cx="326887" cy="228129"/>
            </a:xfrm>
          </p:grpSpPr>
          <p:sp>
            <p:nvSpPr>
              <p:cNvPr id="15" name="Freeform 9"/>
              <p:cNvSpPr>
                <a:spLocks/>
              </p:cNvSpPr>
              <p:nvPr/>
            </p:nvSpPr>
            <p:spPr bwMode="auto">
              <a:xfrm>
                <a:off x="-481671" y="2753273"/>
                <a:ext cx="211957" cy="136877"/>
              </a:xfrm>
              <a:custGeom>
                <a:avLst/>
                <a:gdLst>
                  <a:gd name="T0" fmla="*/ 2147483647 w 367"/>
                  <a:gd name="T1" fmla="*/ 2147483647 h 237"/>
                  <a:gd name="T2" fmla="*/ 2147483647 w 367"/>
                  <a:gd name="T3" fmla="*/ 0 h 237"/>
                  <a:gd name="T4" fmla="*/ 0 w 367"/>
                  <a:gd name="T5" fmla="*/ 2147483647 h 237"/>
                  <a:gd name="T6" fmla="*/ 2147483647 w 367"/>
                  <a:gd name="T7" fmla="*/ 2147483647 h 237"/>
                  <a:gd name="T8" fmla="*/ 2147483647 w 367"/>
                  <a:gd name="T9" fmla="*/ 2147483647 h 237"/>
                  <a:gd name="T10" fmla="*/ 2147483647 w 367"/>
                  <a:gd name="T11" fmla="*/ 2147483647 h 237"/>
                  <a:gd name="T12" fmla="*/ 2147483647 w 367"/>
                  <a:gd name="T13" fmla="*/ 2147483647 h 237"/>
                  <a:gd name="T14" fmla="*/ 2147483647 w 367"/>
                  <a:gd name="T15" fmla="*/ 2147483647 h 237"/>
                  <a:gd name="T16" fmla="*/ 2147483647 w 367"/>
                  <a:gd name="T17" fmla="*/ 2147483647 h 23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67"/>
                  <a:gd name="T28" fmla="*/ 0 h 237"/>
                  <a:gd name="T29" fmla="*/ 367 w 367"/>
                  <a:gd name="T30" fmla="*/ 237 h 23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67" h="237">
                    <a:moveTo>
                      <a:pt x="285" y="75"/>
                    </a:moveTo>
                    <a:lnTo>
                      <a:pt x="181" y="0"/>
                    </a:lnTo>
                    <a:lnTo>
                      <a:pt x="0" y="101"/>
                    </a:lnTo>
                    <a:lnTo>
                      <a:pt x="33" y="159"/>
                    </a:lnTo>
                    <a:lnTo>
                      <a:pt x="140" y="101"/>
                    </a:lnTo>
                    <a:lnTo>
                      <a:pt x="275" y="237"/>
                    </a:lnTo>
                    <a:lnTo>
                      <a:pt x="367" y="231"/>
                    </a:lnTo>
                    <a:lnTo>
                      <a:pt x="367" y="56"/>
                    </a:lnTo>
                    <a:lnTo>
                      <a:pt x="285" y="75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 sz="2400"/>
              </a:p>
            </p:txBody>
          </p:sp>
          <p:sp>
            <p:nvSpPr>
              <p:cNvPr id="16" name="Freeform 10"/>
              <p:cNvSpPr>
                <a:spLocks/>
              </p:cNvSpPr>
              <p:nvPr/>
            </p:nvSpPr>
            <p:spPr bwMode="auto">
              <a:xfrm>
                <a:off x="-596601" y="2749808"/>
                <a:ext cx="264513" cy="228129"/>
              </a:xfrm>
              <a:custGeom>
                <a:avLst/>
                <a:gdLst>
                  <a:gd name="T0" fmla="*/ 2147483647 w 458"/>
                  <a:gd name="T1" fmla="*/ 2147483647 h 395"/>
                  <a:gd name="T2" fmla="*/ 2147483647 w 458"/>
                  <a:gd name="T3" fmla="*/ 2147483647 h 395"/>
                  <a:gd name="T4" fmla="*/ 2147483647 w 458"/>
                  <a:gd name="T5" fmla="*/ 2147483647 h 395"/>
                  <a:gd name="T6" fmla="*/ 2147483647 w 458"/>
                  <a:gd name="T7" fmla="*/ 2147483647 h 395"/>
                  <a:gd name="T8" fmla="*/ 2147483647 w 458"/>
                  <a:gd name="T9" fmla="*/ 2147483647 h 395"/>
                  <a:gd name="T10" fmla="*/ 2147483647 w 458"/>
                  <a:gd name="T11" fmla="*/ 2147483647 h 395"/>
                  <a:gd name="T12" fmla="*/ 2147483647 w 458"/>
                  <a:gd name="T13" fmla="*/ 0 h 395"/>
                  <a:gd name="T14" fmla="*/ 2147483647 w 458"/>
                  <a:gd name="T15" fmla="*/ 2147483647 h 395"/>
                  <a:gd name="T16" fmla="*/ 0 w 458"/>
                  <a:gd name="T17" fmla="*/ 2147483647 h 395"/>
                  <a:gd name="T18" fmla="*/ 0 w 458"/>
                  <a:gd name="T19" fmla="*/ 2147483647 h 395"/>
                  <a:gd name="T20" fmla="*/ 2147483647 w 458"/>
                  <a:gd name="T21" fmla="*/ 2147483647 h 395"/>
                  <a:gd name="T22" fmla="*/ 2147483647 w 458"/>
                  <a:gd name="T23" fmla="*/ 2147483647 h 395"/>
                  <a:gd name="T24" fmla="*/ 2147483647 w 458"/>
                  <a:gd name="T25" fmla="*/ 2147483647 h 395"/>
                  <a:gd name="T26" fmla="*/ 2147483647 w 458"/>
                  <a:gd name="T27" fmla="*/ 2147483647 h 395"/>
                  <a:gd name="T28" fmla="*/ 2147483647 w 458"/>
                  <a:gd name="T29" fmla="*/ 2147483647 h 395"/>
                  <a:gd name="T30" fmla="*/ 2147483647 w 458"/>
                  <a:gd name="T31" fmla="*/ 2147483647 h 395"/>
                  <a:gd name="T32" fmla="*/ 2147483647 w 458"/>
                  <a:gd name="T33" fmla="*/ 2147483647 h 395"/>
                  <a:gd name="T34" fmla="*/ 2147483647 w 458"/>
                  <a:gd name="T35" fmla="*/ 2147483647 h 395"/>
                  <a:gd name="T36" fmla="*/ 2147483647 w 458"/>
                  <a:gd name="T37" fmla="*/ 2147483647 h 395"/>
                  <a:gd name="T38" fmla="*/ 2147483647 w 458"/>
                  <a:gd name="T39" fmla="*/ 2147483647 h 395"/>
                  <a:gd name="T40" fmla="*/ 2147483647 w 458"/>
                  <a:gd name="T41" fmla="*/ 2147483647 h 395"/>
                  <a:gd name="T42" fmla="*/ 2147483647 w 458"/>
                  <a:gd name="T43" fmla="*/ 2147483647 h 395"/>
                  <a:gd name="T44" fmla="*/ 2147483647 w 458"/>
                  <a:gd name="T45" fmla="*/ 2147483647 h 395"/>
                  <a:gd name="T46" fmla="*/ 2147483647 w 458"/>
                  <a:gd name="T47" fmla="*/ 2147483647 h 395"/>
                  <a:gd name="T48" fmla="*/ 2147483647 w 458"/>
                  <a:gd name="T49" fmla="*/ 2147483647 h 395"/>
                  <a:gd name="T50" fmla="*/ 2147483647 w 458"/>
                  <a:gd name="T51" fmla="*/ 2147483647 h 395"/>
                  <a:gd name="T52" fmla="*/ 2147483647 w 458"/>
                  <a:gd name="T53" fmla="*/ 2147483647 h 395"/>
                  <a:gd name="T54" fmla="*/ 2147483647 w 458"/>
                  <a:gd name="T55" fmla="*/ 2147483647 h 395"/>
                  <a:gd name="T56" fmla="*/ 2147483647 w 458"/>
                  <a:gd name="T57" fmla="*/ 2147483647 h 395"/>
                  <a:gd name="T58" fmla="*/ 2147483647 w 458"/>
                  <a:gd name="T59" fmla="*/ 2147483647 h 395"/>
                  <a:gd name="T60" fmla="*/ 2147483647 w 458"/>
                  <a:gd name="T61" fmla="*/ 2147483647 h 395"/>
                  <a:gd name="T62" fmla="*/ 2147483647 w 458"/>
                  <a:gd name="T63" fmla="*/ 2147483647 h 395"/>
                  <a:gd name="T64" fmla="*/ 2147483647 w 458"/>
                  <a:gd name="T65" fmla="*/ 2147483647 h 395"/>
                  <a:gd name="T66" fmla="*/ 2147483647 w 458"/>
                  <a:gd name="T67" fmla="*/ 2147483647 h 395"/>
                  <a:gd name="T68" fmla="*/ 2147483647 w 458"/>
                  <a:gd name="T69" fmla="*/ 2147483647 h 395"/>
                  <a:gd name="T70" fmla="*/ 2147483647 w 458"/>
                  <a:gd name="T71" fmla="*/ 2147483647 h 39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458"/>
                  <a:gd name="T109" fmla="*/ 0 h 395"/>
                  <a:gd name="T110" fmla="*/ 458 w 458"/>
                  <a:gd name="T111" fmla="*/ 395 h 395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458" h="395">
                    <a:moveTo>
                      <a:pt x="397" y="197"/>
                    </a:moveTo>
                    <a:lnTo>
                      <a:pt x="333" y="134"/>
                    </a:lnTo>
                    <a:lnTo>
                      <a:pt x="224" y="191"/>
                    </a:lnTo>
                    <a:lnTo>
                      <a:pt x="184" y="124"/>
                    </a:lnTo>
                    <a:lnTo>
                      <a:pt x="184" y="93"/>
                    </a:lnTo>
                    <a:lnTo>
                      <a:pt x="280" y="38"/>
                    </a:lnTo>
                    <a:lnTo>
                      <a:pt x="219" y="0"/>
                    </a:lnTo>
                    <a:lnTo>
                      <a:pt x="93" y="70"/>
                    </a:lnTo>
                    <a:lnTo>
                      <a:pt x="0" y="41"/>
                    </a:lnTo>
                    <a:lnTo>
                      <a:pt x="0" y="240"/>
                    </a:lnTo>
                    <a:lnTo>
                      <a:pt x="59" y="243"/>
                    </a:lnTo>
                    <a:lnTo>
                      <a:pt x="119" y="188"/>
                    </a:lnTo>
                    <a:lnTo>
                      <a:pt x="318" y="395"/>
                    </a:lnTo>
                    <a:lnTo>
                      <a:pt x="332" y="393"/>
                    </a:lnTo>
                    <a:lnTo>
                      <a:pt x="346" y="380"/>
                    </a:lnTo>
                    <a:lnTo>
                      <a:pt x="347" y="367"/>
                    </a:lnTo>
                    <a:lnTo>
                      <a:pt x="291" y="311"/>
                    </a:lnTo>
                    <a:lnTo>
                      <a:pt x="300" y="303"/>
                    </a:lnTo>
                    <a:lnTo>
                      <a:pt x="355" y="359"/>
                    </a:lnTo>
                    <a:lnTo>
                      <a:pt x="368" y="357"/>
                    </a:lnTo>
                    <a:lnTo>
                      <a:pt x="384" y="341"/>
                    </a:lnTo>
                    <a:lnTo>
                      <a:pt x="385" y="330"/>
                    </a:lnTo>
                    <a:lnTo>
                      <a:pt x="329" y="273"/>
                    </a:lnTo>
                    <a:lnTo>
                      <a:pt x="337" y="266"/>
                    </a:lnTo>
                    <a:lnTo>
                      <a:pt x="393" y="323"/>
                    </a:lnTo>
                    <a:lnTo>
                      <a:pt x="405" y="322"/>
                    </a:lnTo>
                    <a:lnTo>
                      <a:pt x="420" y="307"/>
                    </a:lnTo>
                    <a:lnTo>
                      <a:pt x="421" y="294"/>
                    </a:lnTo>
                    <a:lnTo>
                      <a:pt x="365" y="237"/>
                    </a:lnTo>
                    <a:lnTo>
                      <a:pt x="372" y="229"/>
                    </a:lnTo>
                    <a:lnTo>
                      <a:pt x="429" y="287"/>
                    </a:lnTo>
                    <a:lnTo>
                      <a:pt x="443" y="284"/>
                    </a:lnTo>
                    <a:lnTo>
                      <a:pt x="456" y="271"/>
                    </a:lnTo>
                    <a:lnTo>
                      <a:pt x="458" y="259"/>
                    </a:lnTo>
                    <a:lnTo>
                      <a:pt x="397" y="197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 sz="2400"/>
              </a:p>
            </p:txBody>
          </p:sp>
          <p:sp>
            <p:nvSpPr>
              <p:cNvPr id="17" name="Freeform 11"/>
              <p:cNvSpPr>
                <a:spLocks/>
              </p:cNvSpPr>
              <p:nvPr/>
            </p:nvSpPr>
            <p:spPr bwMode="auto">
              <a:xfrm>
                <a:off x="-494377" y="2936354"/>
                <a:ext cx="42738" cy="41583"/>
              </a:xfrm>
              <a:custGeom>
                <a:avLst/>
                <a:gdLst>
                  <a:gd name="T0" fmla="*/ 0 w 74"/>
                  <a:gd name="T1" fmla="*/ 2147483647 h 72"/>
                  <a:gd name="T2" fmla="*/ 2147483647 w 74"/>
                  <a:gd name="T3" fmla="*/ 2147483647 h 72"/>
                  <a:gd name="T4" fmla="*/ 2147483647 w 74"/>
                  <a:gd name="T5" fmla="*/ 2147483647 h 72"/>
                  <a:gd name="T6" fmla="*/ 2147483647 w 74"/>
                  <a:gd name="T7" fmla="*/ 2147483647 h 72"/>
                  <a:gd name="T8" fmla="*/ 2147483647 w 74"/>
                  <a:gd name="T9" fmla="*/ 2147483647 h 72"/>
                  <a:gd name="T10" fmla="*/ 2147483647 w 74"/>
                  <a:gd name="T11" fmla="*/ 0 h 72"/>
                  <a:gd name="T12" fmla="*/ 0 w 74"/>
                  <a:gd name="T13" fmla="*/ 2147483647 h 7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4"/>
                  <a:gd name="T22" fmla="*/ 0 h 72"/>
                  <a:gd name="T23" fmla="*/ 74 w 74"/>
                  <a:gd name="T24" fmla="*/ 72 h 7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4" h="72">
                    <a:moveTo>
                      <a:pt x="0" y="43"/>
                    </a:moveTo>
                    <a:lnTo>
                      <a:pt x="3" y="56"/>
                    </a:lnTo>
                    <a:lnTo>
                      <a:pt x="14" y="68"/>
                    </a:lnTo>
                    <a:lnTo>
                      <a:pt x="28" y="72"/>
                    </a:lnTo>
                    <a:lnTo>
                      <a:pt x="74" y="28"/>
                    </a:lnTo>
                    <a:lnTo>
                      <a:pt x="46" y="0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 sz="2400"/>
              </a:p>
            </p:txBody>
          </p:sp>
          <p:sp>
            <p:nvSpPr>
              <p:cNvPr id="18" name="Freeform 12"/>
              <p:cNvSpPr>
                <a:spLocks/>
              </p:cNvSpPr>
              <p:nvPr/>
            </p:nvSpPr>
            <p:spPr bwMode="auto">
              <a:xfrm>
                <a:off x="-514013" y="2914407"/>
                <a:ext cx="42161" cy="41583"/>
              </a:xfrm>
              <a:custGeom>
                <a:avLst/>
                <a:gdLst>
                  <a:gd name="T0" fmla="*/ 2147483647 w 73"/>
                  <a:gd name="T1" fmla="*/ 0 h 72"/>
                  <a:gd name="T2" fmla="*/ 0 w 73"/>
                  <a:gd name="T3" fmla="*/ 2147483647 h 72"/>
                  <a:gd name="T4" fmla="*/ 0 w 73"/>
                  <a:gd name="T5" fmla="*/ 2147483647 h 72"/>
                  <a:gd name="T6" fmla="*/ 2147483647 w 73"/>
                  <a:gd name="T7" fmla="*/ 2147483647 h 72"/>
                  <a:gd name="T8" fmla="*/ 2147483647 w 73"/>
                  <a:gd name="T9" fmla="*/ 2147483647 h 72"/>
                  <a:gd name="T10" fmla="*/ 2147483647 w 73"/>
                  <a:gd name="T11" fmla="*/ 2147483647 h 72"/>
                  <a:gd name="T12" fmla="*/ 2147483647 w 73"/>
                  <a:gd name="T13" fmla="*/ 0 h 7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3"/>
                  <a:gd name="T22" fmla="*/ 0 h 72"/>
                  <a:gd name="T23" fmla="*/ 73 w 73"/>
                  <a:gd name="T24" fmla="*/ 72 h 7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3" h="72">
                    <a:moveTo>
                      <a:pt x="46" y="0"/>
                    </a:moveTo>
                    <a:lnTo>
                      <a:pt x="0" y="44"/>
                    </a:lnTo>
                    <a:lnTo>
                      <a:pt x="0" y="57"/>
                    </a:lnTo>
                    <a:lnTo>
                      <a:pt x="13" y="71"/>
                    </a:lnTo>
                    <a:lnTo>
                      <a:pt x="27" y="72"/>
                    </a:lnTo>
                    <a:lnTo>
                      <a:pt x="73" y="29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 sz="2400"/>
              </a:p>
            </p:txBody>
          </p:sp>
          <p:sp>
            <p:nvSpPr>
              <p:cNvPr id="19" name="Freeform 13"/>
              <p:cNvSpPr>
                <a:spLocks/>
              </p:cNvSpPr>
              <p:nvPr/>
            </p:nvSpPr>
            <p:spPr bwMode="auto">
              <a:xfrm>
                <a:off x="-534805" y="2892461"/>
                <a:ext cx="42161" cy="41583"/>
              </a:xfrm>
              <a:custGeom>
                <a:avLst/>
                <a:gdLst>
                  <a:gd name="T0" fmla="*/ 2147483647 w 73"/>
                  <a:gd name="T1" fmla="*/ 0 h 72"/>
                  <a:gd name="T2" fmla="*/ 0 w 73"/>
                  <a:gd name="T3" fmla="*/ 2147483647 h 72"/>
                  <a:gd name="T4" fmla="*/ 2147483647 w 73"/>
                  <a:gd name="T5" fmla="*/ 2147483647 h 72"/>
                  <a:gd name="T6" fmla="*/ 2147483647 w 73"/>
                  <a:gd name="T7" fmla="*/ 2147483647 h 72"/>
                  <a:gd name="T8" fmla="*/ 2147483647 w 73"/>
                  <a:gd name="T9" fmla="*/ 2147483647 h 72"/>
                  <a:gd name="T10" fmla="*/ 2147483647 w 73"/>
                  <a:gd name="T11" fmla="*/ 2147483647 h 72"/>
                  <a:gd name="T12" fmla="*/ 2147483647 w 73"/>
                  <a:gd name="T13" fmla="*/ 0 h 7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3"/>
                  <a:gd name="T22" fmla="*/ 0 h 72"/>
                  <a:gd name="T23" fmla="*/ 73 w 73"/>
                  <a:gd name="T24" fmla="*/ 72 h 7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3" h="72">
                    <a:moveTo>
                      <a:pt x="46" y="0"/>
                    </a:moveTo>
                    <a:lnTo>
                      <a:pt x="0" y="43"/>
                    </a:lnTo>
                    <a:lnTo>
                      <a:pt x="2" y="54"/>
                    </a:lnTo>
                    <a:lnTo>
                      <a:pt x="16" y="69"/>
                    </a:lnTo>
                    <a:lnTo>
                      <a:pt x="27" y="72"/>
                    </a:lnTo>
                    <a:lnTo>
                      <a:pt x="73" y="29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 sz="2400"/>
              </a:p>
            </p:txBody>
          </p:sp>
          <p:sp>
            <p:nvSpPr>
              <p:cNvPr id="20" name="Freeform 14"/>
              <p:cNvSpPr>
                <a:spLocks/>
              </p:cNvSpPr>
              <p:nvPr/>
            </p:nvSpPr>
            <p:spPr bwMode="auto">
              <a:xfrm>
                <a:off x="-555596" y="2870514"/>
                <a:ext cx="42738" cy="42161"/>
              </a:xfrm>
              <a:custGeom>
                <a:avLst/>
                <a:gdLst>
                  <a:gd name="T0" fmla="*/ 2147483647 w 74"/>
                  <a:gd name="T1" fmla="*/ 0 h 73"/>
                  <a:gd name="T2" fmla="*/ 0 w 74"/>
                  <a:gd name="T3" fmla="*/ 2147483647 h 73"/>
                  <a:gd name="T4" fmla="*/ 0 w 74"/>
                  <a:gd name="T5" fmla="*/ 2147483647 h 73"/>
                  <a:gd name="T6" fmla="*/ 2147483647 w 74"/>
                  <a:gd name="T7" fmla="*/ 2147483647 h 73"/>
                  <a:gd name="T8" fmla="*/ 2147483647 w 74"/>
                  <a:gd name="T9" fmla="*/ 2147483647 h 73"/>
                  <a:gd name="T10" fmla="*/ 2147483647 w 74"/>
                  <a:gd name="T11" fmla="*/ 2147483647 h 73"/>
                  <a:gd name="T12" fmla="*/ 2147483647 w 74"/>
                  <a:gd name="T13" fmla="*/ 0 h 7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4"/>
                  <a:gd name="T22" fmla="*/ 0 h 73"/>
                  <a:gd name="T23" fmla="*/ 74 w 74"/>
                  <a:gd name="T24" fmla="*/ 73 h 7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4" h="73">
                    <a:moveTo>
                      <a:pt x="46" y="0"/>
                    </a:moveTo>
                    <a:lnTo>
                      <a:pt x="0" y="43"/>
                    </a:lnTo>
                    <a:lnTo>
                      <a:pt x="0" y="54"/>
                    </a:lnTo>
                    <a:lnTo>
                      <a:pt x="15" y="70"/>
                    </a:lnTo>
                    <a:lnTo>
                      <a:pt x="28" y="73"/>
                    </a:lnTo>
                    <a:lnTo>
                      <a:pt x="74" y="29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 sz="2400"/>
              </a:p>
            </p:txBody>
          </p:sp>
        </p:grpSp>
      </p:grpSp>
      <p:sp>
        <p:nvSpPr>
          <p:cNvPr id="28" name="Bildplatzhalter 7"/>
          <p:cNvSpPr>
            <a:spLocks noGrp="1"/>
          </p:cNvSpPr>
          <p:nvPr>
            <p:ph type="pic" sz="quarter" idx="18"/>
          </p:nvPr>
        </p:nvSpPr>
        <p:spPr>
          <a:xfrm>
            <a:off x="359532" y="1203820"/>
            <a:ext cx="8424000" cy="1620344"/>
          </a:xfrm>
          <a:solidFill>
            <a:schemeClr val="accent6"/>
          </a:solidFill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35000"/>
            <a:ext cx="8424000" cy="184666"/>
          </a:xfrm>
        </p:spPr>
        <p:txBody>
          <a:bodyPr tIns="0" bIns="0">
            <a:noAutofit/>
          </a:bodyPr>
          <a:lstStyle>
            <a:lvl1pPr>
              <a:defRPr sz="12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chapter</a:t>
            </a:r>
            <a:endParaRPr lang="de-DE" dirty="0"/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08028" y="3183818"/>
            <a:ext cx="3816000" cy="13320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968468" y="3183818"/>
            <a:ext cx="3816000" cy="13320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dirty="0"/>
          </a:p>
        </p:txBody>
      </p:sp>
      <p:sp>
        <p:nvSpPr>
          <p:cNvPr id="2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16EDD0-C322-41ED-BE45-DF42D1B6D1CD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1008028" y="2895818"/>
            <a:ext cx="7776000" cy="28800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itchFamily="18" charset="2"/>
              <a:buNone/>
              <a:tabLst/>
              <a:defRPr sz="1800" b="1">
                <a:solidFill>
                  <a:schemeClr val="tx2"/>
                </a:solidFill>
              </a:defRPr>
            </a:lvl3pPr>
            <a:lvl4pPr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de-DE" dirty="0"/>
              <a:t>The </a:t>
            </a:r>
            <a:r>
              <a:rPr lang="de-DE" dirty="0" err="1"/>
              <a:t>benefits</a:t>
            </a:r>
            <a:r>
              <a:rPr lang="de-DE" dirty="0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2837367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0" y="0"/>
            <a:ext cx="9144000" cy="32197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18" name="Rechteck 3"/>
          <p:cNvSpPr/>
          <p:nvPr userDrawn="1"/>
        </p:nvSpPr>
        <p:spPr>
          <a:xfrm>
            <a:off x="-4763" y="1940286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21" name="Rechteck 20"/>
          <p:cNvSpPr/>
          <p:nvPr userDrawn="1"/>
        </p:nvSpPr>
        <p:spPr>
          <a:xfrm>
            <a:off x="358413" y="4982732"/>
            <a:ext cx="8426814" cy="128685"/>
          </a:xfrm>
          <a:prstGeom prst="rect">
            <a:avLst/>
          </a:prstGeom>
        </p:spPr>
        <p:txBody>
          <a:bodyPr wrap="square" lIns="0" tIns="36000" rIns="0" bIns="0">
            <a:spAutoFit/>
          </a:bodyPr>
          <a:lstStyle/>
          <a:p>
            <a:r>
              <a:rPr lang="en-US" sz="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py text, pictures, graphics, sounds, animations and videos  as well as the order of them within this presentation are subject to  copyright and other protective laws. </a:t>
            </a:r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4438507"/>
            <a:ext cx="2397490" cy="276560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adress</a:t>
            </a:r>
            <a:endParaRPr lang="de-DE" dirty="0"/>
          </a:p>
        </p:txBody>
      </p:sp>
      <p:sp>
        <p:nvSpPr>
          <p:cNvPr id="25" name="Textplatzhalt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360001" y="4239341"/>
            <a:ext cx="2397488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company</a:t>
            </a:r>
            <a:r>
              <a:rPr lang="de-DE" dirty="0"/>
              <a:t> </a:t>
            </a:r>
            <a:r>
              <a:rPr lang="de-DE" dirty="0" err="1"/>
              <a:t>name</a:t>
            </a:r>
            <a:endParaRPr lang="de-DE" dirty="0"/>
          </a:p>
        </p:txBody>
      </p:sp>
      <p:sp>
        <p:nvSpPr>
          <p:cNvPr id="26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2854328" y="4239341"/>
            <a:ext cx="2610055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name</a:t>
            </a:r>
            <a:r>
              <a:rPr lang="de-DE" dirty="0"/>
              <a:t>/ </a:t>
            </a:r>
            <a:r>
              <a:rPr lang="de-DE" dirty="0" err="1"/>
              <a:t>function</a:t>
            </a:r>
            <a:endParaRPr lang="de-DE" dirty="0"/>
          </a:p>
        </p:txBody>
      </p:sp>
      <p:sp>
        <p:nvSpPr>
          <p:cNvPr id="27" name="Textplatzhalt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3361100" y="4438508"/>
            <a:ext cx="2103282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hone</a:t>
            </a:r>
            <a:r>
              <a:rPr lang="de-DE" dirty="0"/>
              <a:t> </a:t>
            </a:r>
            <a:r>
              <a:rPr lang="de-DE" dirty="0" err="1"/>
              <a:t>number</a:t>
            </a:r>
            <a:endParaRPr lang="de-DE" dirty="0"/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3361100" y="4591956"/>
            <a:ext cx="2103282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fax </a:t>
            </a:r>
            <a:r>
              <a:rPr lang="de-DE" dirty="0" err="1"/>
              <a:t>number</a:t>
            </a:r>
            <a:endParaRPr lang="de-DE" dirty="0"/>
          </a:p>
        </p:txBody>
      </p:sp>
      <p:sp>
        <p:nvSpPr>
          <p:cNvPr id="29" name="Textplatzhalt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2854328" y="4745406"/>
            <a:ext cx="2610053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email</a:t>
            </a:r>
          </a:p>
        </p:txBody>
      </p:sp>
      <p:sp>
        <p:nvSpPr>
          <p:cNvPr id="30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360000" y="4745406"/>
            <a:ext cx="2397490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website</a:t>
            </a:r>
            <a:endParaRPr lang="de-DE" dirty="0"/>
          </a:p>
        </p:txBody>
      </p:sp>
      <p:sp>
        <p:nvSpPr>
          <p:cNvPr id="31" name="Textfeld 30"/>
          <p:cNvSpPr txBox="1"/>
          <p:nvPr userDrawn="1"/>
        </p:nvSpPr>
        <p:spPr>
          <a:xfrm>
            <a:off x="2854325" y="4439786"/>
            <a:ext cx="36708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/>
              <a:t>Phone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2854325" y="4591955"/>
            <a:ext cx="21320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/>
              <a:t>Fax</a:t>
            </a:r>
          </a:p>
        </p:txBody>
      </p: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583" y="4332429"/>
            <a:ext cx="550800" cy="550800"/>
          </a:xfrm>
          <a:prstGeom prst="rect">
            <a:avLst/>
          </a:prstGeom>
        </p:spPr>
      </p:pic>
      <p:sp>
        <p:nvSpPr>
          <p:cNvPr id="19" name="Titel 1"/>
          <p:cNvSpPr>
            <a:spLocks noGrp="1"/>
          </p:cNvSpPr>
          <p:nvPr>
            <p:ph type="ctrTitle" hasCustomPrompt="1"/>
          </p:nvPr>
        </p:nvSpPr>
        <p:spPr>
          <a:xfrm>
            <a:off x="334061" y="3427202"/>
            <a:ext cx="8462322" cy="430887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spcAft>
                <a:spcPts val="1200"/>
              </a:spcAft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head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42440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729763" y="4873092"/>
            <a:ext cx="7199801" cy="138499"/>
          </a:xfrm>
        </p:spPr>
        <p:txBody>
          <a:bodyPr lIns="0" tIns="0" rIns="0" bIns="0"/>
          <a:lstStyle>
            <a:lvl1pPr>
              <a:defRPr sz="9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700">
              <a:spcBef>
                <a:spcPts val="15"/>
              </a:spcBef>
            </a:pPr>
            <a:endParaRPr lang="ru-RU" spc="-5"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4783457"/>
            <a:ext cx="2103120" cy="2571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358778" y="4873092"/>
            <a:ext cx="370987" cy="138499"/>
          </a:xfrm>
        </p:spPr>
        <p:txBody>
          <a:bodyPr lIns="0" tIns="0" rIns="0" bIns="0"/>
          <a:lstStyle>
            <a:lvl1pPr>
              <a:defRPr sz="900" b="0" i="0">
                <a:solidFill>
                  <a:srgbClr val="9E2B11"/>
                </a:solidFill>
                <a:latin typeface="Arial"/>
                <a:cs typeface="Arial"/>
              </a:defRPr>
            </a:lvl1pPr>
          </a:lstStyle>
          <a:p>
            <a:pPr marL="25400">
              <a:spcBef>
                <a:spcPts val="15"/>
              </a:spcBef>
            </a:pPr>
            <a:fld id="{81D60167-4931-47E6-BA6A-407CBD079E47}" type="slidenum">
              <a:rPr lang="ru-RU" spc="-5" smtClean="0"/>
              <a:pPr marL="25400">
                <a:spcBef>
                  <a:spcPts val="15"/>
                </a:spcBef>
              </a:pPr>
              <a:t>‹#›</a:t>
            </a:fld>
            <a:endParaRPr lang="ru-RU" spc="-5" dirty="0"/>
          </a:p>
        </p:txBody>
      </p:sp>
    </p:spTree>
    <p:extLst>
      <p:ext uri="{BB962C8B-B14F-4D97-AF65-F5344CB8AC3E}">
        <p14:creationId xmlns:p14="http://schemas.microsoft.com/office/powerpoint/2010/main" val="28669027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ingle-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7">
            <a:extLst>
              <a:ext uri="{FF2B5EF4-FFF2-40B4-BE49-F238E27FC236}">
                <a16:creationId xmlns:a16="http://schemas.microsoft.com/office/drawing/2014/main" id="{BD632195-40E3-4C7A-9D72-04D547BAF21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gray">
          <a:xfrm>
            <a:off x="305528" y="1113588"/>
            <a:ext cx="8532423" cy="3726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 marL="0" indent="0" algn="l">
              <a:defRPr>
                <a:solidFill>
                  <a:schemeClr val="tx2"/>
                </a:solidFill>
              </a:defRPr>
            </a:lvl5pPr>
            <a:lvl6pPr marL="0" indent="0" algn="l">
              <a:defRPr/>
            </a:lvl6pPr>
            <a:lvl7pPr marL="0" indent="0" algn="l">
              <a:defRPr/>
            </a:lvl7pPr>
            <a:lvl8pPr marL="0" indent="0" algn="l">
              <a:defRPr/>
            </a:lvl8pPr>
            <a:lvl9pPr marL="0" indent="0" algn="l">
              <a:defRPr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900D9B-3221-4CC3-93E4-2657D732ED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05991" y="4839891"/>
            <a:ext cx="5076000" cy="216000"/>
          </a:xfrm>
        </p:spPr>
        <p:txBody>
          <a:bodyPr tIns="27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0" indent="0">
              <a:spcBef>
                <a:spcPts val="0"/>
              </a:spcBef>
              <a:buNone/>
              <a:defRPr sz="600" b="0">
                <a:solidFill>
                  <a:schemeClr val="accent3"/>
                </a:solidFill>
              </a:defRPr>
            </a:lvl2pPr>
            <a:lvl3pPr marL="0" indent="0">
              <a:spcBef>
                <a:spcPts val="0"/>
              </a:spcBef>
              <a:buNone/>
              <a:defRPr sz="600" b="0">
                <a:solidFill>
                  <a:schemeClr val="accent3"/>
                </a:solidFill>
              </a:defRPr>
            </a:lvl3pPr>
            <a:lvl4pPr marL="0" indent="0">
              <a:spcBef>
                <a:spcPts val="0"/>
              </a:spcBef>
              <a:buNone/>
              <a:defRPr sz="600" b="0">
                <a:solidFill>
                  <a:schemeClr val="accent3"/>
                </a:solidFill>
              </a:defRPr>
            </a:lvl4pPr>
            <a:lvl5pPr>
              <a:spcBef>
                <a:spcPts val="0"/>
              </a:spcBef>
              <a:defRPr sz="600" b="0">
                <a:solidFill>
                  <a:schemeClr val="accent3"/>
                </a:solidFill>
              </a:defRPr>
            </a:lvl5pPr>
            <a:lvl6pPr marL="0" indent="0">
              <a:spcBef>
                <a:spcPts val="0"/>
              </a:spcBef>
              <a:buNone/>
              <a:defRPr sz="600" b="0">
                <a:solidFill>
                  <a:schemeClr val="accent3"/>
                </a:solidFill>
              </a:defRPr>
            </a:lvl6pPr>
            <a:lvl7pPr marL="0" indent="0">
              <a:spcBef>
                <a:spcPts val="0"/>
              </a:spcBef>
              <a:buNone/>
              <a:defRPr sz="600" b="0">
                <a:solidFill>
                  <a:schemeClr val="accent3"/>
                </a:solidFill>
              </a:defRPr>
            </a:lvl7pPr>
            <a:lvl8pPr marL="0" indent="0">
              <a:spcBef>
                <a:spcPts val="0"/>
              </a:spcBef>
              <a:buNone/>
              <a:defRPr sz="600" b="0">
                <a:solidFill>
                  <a:schemeClr val="accent3"/>
                </a:solidFill>
              </a:defRPr>
            </a:lvl8pPr>
            <a:lvl9pPr marL="0" indent="0">
              <a:spcBef>
                <a:spcPts val="0"/>
              </a:spcBef>
              <a:buNone/>
              <a:defRPr sz="6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 dirty="0"/>
              <a:t>Sourc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7B859D6-1D9B-4A5B-91B9-9F5362C55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add title max. double spaced headline</a:t>
            </a:r>
          </a:p>
        </p:txBody>
      </p:sp>
    </p:spTree>
    <p:extLst>
      <p:ext uri="{BB962C8B-B14F-4D97-AF65-F5344CB8AC3E}">
        <p14:creationId xmlns:p14="http://schemas.microsoft.com/office/powerpoint/2010/main" val="21671562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58775" y="378002"/>
            <a:ext cx="8424000" cy="307777"/>
          </a:xfrm>
        </p:spPr>
        <p:txBody>
          <a:bodyPr lIns="0" tIns="0" rIns="0" bIns="0"/>
          <a:lstStyle>
            <a:lvl1pPr>
              <a:defRPr sz="2000" b="0" i="0">
                <a:solidFill>
                  <a:srgbClr val="4D4D4B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9E2B1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717295" y="4879541"/>
            <a:ext cx="2677160" cy="107722"/>
          </a:xfrm>
          <a:prstGeom prst="rect">
            <a:avLst/>
          </a:prstGeom>
        </p:spPr>
        <p:txBody>
          <a:bodyPr lIns="0" tIns="0" rIns="0" bIns="0"/>
          <a:lstStyle>
            <a:lvl1pPr>
              <a:defRPr sz="7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9525">
              <a:spcBef>
                <a:spcPts val="11"/>
              </a:spcBef>
            </a:pPr>
            <a:endParaRPr lang="en-US" spc="-4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4783457"/>
            <a:ext cx="2103120" cy="2571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333349" y="4879541"/>
            <a:ext cx="179070" cy="107722"/>
          </a:xfrm>
          <a:prstGeom prst="rect">
            <a:avLst/>
          </a:prstGeom>
        </p:spPr>
        <p:txBody>
          <a:bodyPr lIns="0" tIns="0" rIns="0" bIns="0"/>
          <a:lstStyle>
            <a:lvl1pPr>
              <a:defRPr sz="700" b="0" i="0">
                <a:solidFill>
                  <a:srgbClr val="9E2B11"/>
                </a:solidFill>
                <a:latin typeface="Arial"/>
                <a:cs typeface="Arial"/>
              </a:defRPr>
            </a:lvl1pPr>
          </a:lstStyle>
          <a:p>
            <a:pPr marL="19049">
              <a:spcBef>
                <a:spcPts val="11"/>
              </a:spcBef>
            </a:pPr>
            <a:fld id="{81D60167-4931-47E6-BA6A-407CBD079E47}" type="slidenum">
              <a:rPr lang="ru-RU" spc="-4" smtClean="0"/>
              <a:pPr marL="19049">
                <a:spcBef>
                  <a:spcPts val="11"/>
                </a:spcBef>
              </a:pPr>
              <a:t>‹#›</a:t>
            </a:fld>
            <a:endParaRPr lang="ru-RU" spc="-4" dirty="0"/>
          </a:p>
        </p:txBody>
      </p:sp>
    </p:spTree>
    <p:extLst>
      <p:ext uri="{BB962C8B-B14F-4D97-AF65-F5344CB8AC3E}">
        <p14:creationId xmlns:p14="http://schemas.microsoft.com/office/powerpoint/2010/main" val="17248127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and chapter only - full siz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VCT_Marker_ID_4" hidden="1"/>
          <p:cNvSpPr/>
          <p:nvPr userDrawn="1">
            <p:custDataLst>
              <p:tags r:id="rId3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/>
          </a:p>
        </p:txBody>
      </p:sp>
      <p:sp>
        <p:nvSpPr>
          <p:cNvPr id="6" name="Line 15"/>
          <p:cNvSpPr>
            <a:spLocks noChangeShapeType="1"/>
          </p:cNvSpPr>
          <p:nvPr userDrawn="1"/>
        </p:nvSpPr>
        <p:spPr bwMode="auto">
          <a:xfrm flipV="1">
            <a:off x="358775" y="4597400"/>
            <a:ext cx="842327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 dirty="0"/>
          </a:p>
        </p:txBody>
      </p:sp>
      <p:pic>
        <p:nvPicPr>
          <p:cNvPr id="7" name="Grafik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1213" y="4621213"/>
            <a:ext cx="360362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35000"/>
            <a:ext cx="8424000" cy="184666"/>
          </a:xfrm>
        </p:spPr>
        <p:txBody>
          <a:bodyPr tIns="0" bIns="0">
            <a:noAutofit/>
          </a:bodyPr>
          <a:lstStyle>
            <a:lvl1pPr>
              <a:defRPr sz="12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chapter</a:t>
            </a:r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OS Group – For a debt-free world © EOS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1D8CE9-C67E-425B-A3B0-F5CBCB7FB14C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06919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Q:\Fotos\EOS Bilderpool\neu_Brandpool\Fotolia_20-02-2015\Fotolia_52854515_X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"/>
            <a:ext cx="9144000" cy="4185195"/>
          </a:xfrm>
          <a:prstGeom prst="rect">
            <a:avLst/>
          </a:prstGeom>
          <a:noFill/>
        </p:spPr>
      </p:pic>
      <p:sp>
        <p:nvSpPr>
          <p:cNvPr id="15" name="Rechteck 3"/>
          <p:cNvSpPr/>
          <p:nvPr userDrawn="1"/>
        </p:nvSpPr>
        <p:spPr>
          <a:xfrm>
            <a:off x="-6611" y="2301241"/>
            <a:ext cx="9158400" cy="2606516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8641" h="3475355">
                <a:moveTo>
                  <a:pt x="0" y="451516"/>
                </a:moveTo>
                <a:cubicBezTo>
                  <a:pt x="4705350" y="2064416"/>
                  <a:pt x="8653816" y="254000"/>
                  <a:pt x="9158641" y="0"/>
                </a:cubicBezTo>
                <a:lnTo>
                  <a:pt x="9143413" y="3475355"/>
                </a:lnTo>
                <a:lnTo>
                  <a:pt x="8938" y="3475355"/>
                </a:lnTo>
                <a:cubicBezTo>
                  <a:pt x="5763" y="2786380"/>
                  <a:pt x="3175" y="1140491"/>
                  <a:pt x="0" y="4515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16" name="Freeform 25"/>
          <p:cNvSpPr>
            <a:spLocks/>
          </p:cNvSpPr>
          <p:nvPr userDrawn="1"/>
        </p:nvSpPr>
        <p:spPr bwMode="auto">
          <a:xfrm>
            <a:off x="-7197" y="1623063"/>
            <a:ext cx="9159241" cy="2424591"/>
          </a:xfrm>
          <a:custGeom>
            <a:avLst/>
            <a:gdLst/>
            <a:ahLst/>
            <a:cxnLst>
              <a:cxn ang="0">
                <a:pos x="0" y="527"/>
              </a:cxn>
              <a:cxn ang="0">
                <a:pos x="0" y="781"/>
              </a:cxn>
              <a:cxn ang="0">
                <a:pos x="5762" y="609"/>
              </a:cxn>
              <a:cxn ang="0">
                <a:pos x="5762" y="0"/>
              </a:cxn>
              <a:cxn ang="0">
                <a:pos x="0" y="527"/>
              </a:cxn>
            </a:cxnLst>
            <a:rect l="0" t="0" r="r" b="b"/>
            <a:pathLst>
              <a:path w="5762" h="1670">
                <a:moveTo>
                  <a:pt x="0" y="527"/>
                </a:moveTo>
                <a:cubicBezTo>
                  <a:pt x="0" y="527"/>
                  <a:pt x="0" y="653"/>
                  <a:pt x="0" y="781"/>
                </a:cubicBezTo>
                <a:cubicBezTo>
                  <a:pt x="2221" y="1670"/>
                  <a:pt x="4351" y="1248"/>
                  <a:pt x="5762" y="609"/>
                </a:cubicBezTo>
                <a:cubicBezTo>
                  <a:pt x="5762" y="304"/>
                  <a:pt x="5762" y="0"/>
                  <a:pt x="5762" y="0"/>
                </a:cubicBezTo>
                <a:cubicBezTo>
                  <a:pt x="4274" y="869"/>
                  <a:pt x="1922" y="1206"/>
                  <a:pt x="0" y="527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4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0366" y="4193472"/>
            <a:ext cx="7544942" cy="276999"/>
          </a:xfrm>
          <a:noFill/>
        </p:spPr>
        <p:txBody>
          <a:bodyPr wrap="square" lIns="0" tIns="0" rIns="0" bIns="0">
            <a:sp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 b="0">
                <a:solidFill>
                  <a:schemeClr val="tx2"/>
                </a:solidFill>
              </a:defRPr>
            </a:lvl2pPr>
            <a:lvl3pPr>
              <a:defRPr sz="1800" b="0">
                <a:solidFill>
                  <a:schemeClr val="tx2"/>
                </a:solidFill>
              </a:defRPr>
            </a:lvl3pPr>
            <a:lvl4pPr>
              <a:defRPr sz="1800" b="0">
                <a:solidFill>
                  <a:schemeClr val="tx2"/>
                </a:solidFill>
              </a:defRPr>
            </a:lvl4pPr>
            <a:lvl5pPr>
              <a:defRPr sz="1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60003" y="3778087"/>
            <a:ext cx="7545344" cy="400110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spcAft>
                <a:spcPts val="1200"/>
              </a:spcAft>
              <a:defRPr sz="2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17" name="Textfeld 16"/>
          <p:cNvSpPr txBox="1"/>
          <p:nvPr userDrawn="1"/>
        </p:nvSpPr>
        <p:spPr>
          <a:xfrm>
            <a:off x="360366" y="4730531"/>
            <a:ext cx="38385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kern="1200" baseline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With head and heart in finance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583" y="4332429"/>
            <a:ext cx="550800" cy="55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3122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Q:\Fotos\EOS Bilderpool\neu_Brandpool\Fotolia_20-02-2015\Fotolia_76003860_X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 flipH="1">
            <a:off x="0" y="1"/>
            <a:ext cx="9144000" cy="3170732"/>
          </a:xfrm>
          <a:prstGeom prst="rect">
            <a:avLst/>
          </a:prstGeom>
          <a:noFill/>
        </p:spPr>
      </p:pic>
      <p:sp>
        <p:nvSpPr>
          <p:cNvPr id="15" name="Rechteck 3"/>
          <p:cNvSpPr/>
          <p:nvPr userDrawn="1"/>
        </p:nvSpPr>
        <p:spPr>
          <a:xfrm>
            <a:off x="-6611" y="2301241"/>
            <a:ext cx="9158400" cy="2606516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8641" h="3475355">
                <a:moveTo>
                  <a:pt x="0" y="451516"/>
                </a:moveTo>
                <a:cubicBezTo>
                  <a:pt x="4705350" y="2064416"/>
                  <a:pt x="8653816" y="254000"/>
                  <a:pt x="9158641" y="0"/>
                </a:cubicBezTo>
                <a:lnTo>
                  <a:pt x="9143413" y="3475355"/>
                </a:lnTo>
                <a:lnTo>
                  <a:pt x="8938" y="3475355"/>
                </a:lnTo>
                <a:cubicBezTo>
                  <a:pt x="5763" y="2786380"/>
                  <a:pt x="3175" y="1140491"/>
                  <a:pt x="0" y="4515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16" name="Freeform 25"/>
          <p:cNvSpPr>
            <a:spLocks/>
          </p:cNvSpPr>
          <p:nvPr userDrawn="1"/>
        </p:nvSpPr>
        <p:spPr bwMode="auto">
          <a:xfrm>
            <a:off x="-7197" y="1623063"/>
            <a:ext cx="9159241" cy="2424591"/>
          </a:xfrm>
          <a:custGeom>
            <a:avLst/>
            <a:gdLst/>
            <a:ahLst/>
            <a:cxnLst>
              <a:cxn ang="0">
                <a:pos x="0" y="527"/>
              </a:cxn>
              <a:cxn ang="0">
                <a:pos x="0" y="781"/>
              </a:cxn>
              <a:cxn ang="0">
                <a:pos x="5762" y="609"/>
              </a:cxn>
              <a:cxn ang="0">
                <a:pos x="5762" y="0"/>
              </a:cxn>
              <a:cxn ang="0">
                <a:pos x="0" y="527"/>
              </a:cxn>
            </a:cxnLst>
            <a:rect l="0" t="0" r="r" b="b"/>
            <a:pathLst>
              <a:path w="5762" h="1670">
                <a:moveTo>
                  <a:pt x="0" y="527"/>
                </a:moveTo>
                <a:cubicBezTo>
                  <a:pt x="0" y="527"/>
                  <a:pt x="0" y="653"/>
                  <a:pt x="0" y="781"/>
                </a:cubicBezTo>
                <a:cubicBezTo>
                  <a:pt x="2221" y="1670"/>
                  <a:pt x="4351" y="1248"/>
                  <a:pt x="5762" y="609"/>
                </a:cubicBezTo>
                <a:cubicBezTo>
                  <a:pt x="5762" y="304"/>
                  <a:pt x="5762" y="0"/>
                  <a:pt x="5762" y="0"/>
                </a:cubicBezTo>
                <a:cubicBezTo>
                  <a:pt x="4274" y="869"/>
                  <a:pt x="1922" y="1206"/>
                  <a:pt x="0" y="527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4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0366" y="4193472"/>
            <a:ext cx="7544942" cy="276999"/>
          </a:xfrm>
          <a:noFill/>
        </p:spPr>
        <p:txBody>
          <a:bodyPr wrap="square" lIns="0" tIns="0" rIns="0" bIns="0">
            <a:sp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 b="0">
                <a:solidFill>
                  <a:schemeClr val="tx2"/>
                </a:solidFill>
              </a:defRPr>
            </a:lvl2pPr>
            <a:lvl3pPr>
              <a:defRPr sz="1800" b="0">
                <a:solidFill>
                  <a:schemeClr val="tx2"/>
                </a:solidFill>
              </a:defRPr>
            </a:lvl3pPr>
            <a:lvl4pPr>
              <a:defRPr sz="1800" b="0">
                <a:solidFill>
                  <a:schemeClr val="tx2"/>
                </a:solidFill>
              </a:defRPr>
            </a:lvl4pPr>
            <a:lvl5pPr>
              <a:defRPr sz="1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60003" y="3778087"/>
            <a:ext cx="7545344" cy="400110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spcAft>
                <a:spcPts val="1200"/>
              </a:spcAft>
              <a:defRPr sz="2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17" name="Textfeld 16"/>
          <p:cNvSpPr txBox="1"/>
          <p:nvPr userDrawn="1"/>
        </p:nvSpPr>
        <p:spPr>
          <a:xfrm>
            <a:off x="360366" y="4730531"/>
            <a:ext cx="38385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kern="1200" baseline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With head and heart in finance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583" y="4332429"/>
            <a:ext cx="550800" cy="55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0421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6" hasCustomPrompt="1"/>
          </p:nvPr>
        </p:nvSpPr>
        <p:spPr>
          <a:xfrm>
            <a:off x="6085227" y="1220391"/>
            <a:ext cx="2700000" cy="3308400"/>
          </a:xfrm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7" name="Line 15"/>
          <p:cNvSpPr>
            <a:spLocks noChangeShapeType="1"/>
          </p:cNvSpPr>
          <p:nvPr userDrawn="1"/>
        </p:nvSpPr>
        <p:spPr bwMode="auto">
          <a:xfrm flipV="1">
            <a:off x="358776" y="4597004"/>
            <a:ext cx="842645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240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587A00-45C5-427A-BDF7-9B55021A5AD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6" y="1220392"/>
            <a:ext cx="5564188" cy="3309938"/>
          </a:xfrm>
        </p:spPr>
        <p:txBody>
          <a:bodyPr tIns="0" bIns="0">
            <a:normAutofit/>
          </a:bodyPr>
          <a:lstStyle>
            <a:lvl1pPr marL="358766" indent="-358766"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1800" b="0">
                <a:solidFill>
                  <a:schemeClr val="tx1"/>
                </a:solidFill>
              </a:defRPr>
            </a:lvl1pPr>
            <a:lvl2pPr marL="542912" indent="-180971">
              <a:spcAft>
                <a:spcPts val="600"/>
              </a:spcAft>
              <a:buClr>
                <a:schemeClr val="bg2"/>
              </a:buClr>
              <a:buSzPct val="90000"/>
              <a:buFont typeface="Wingdings" pitchFamily="2" charset="2"/>
              <a:buChar char="§"/>
              <a:defRPr sz="1800"/>
            </a:lvl2pPr>
            <a:lvl3pPr marL="714357" indent="-171446">
              <a:spcAft>
                <a:spcPts val="600"/>
              </a:spcAft>
              <a:buFont typeface="Symbol" pitchFamily="18" charset="2"/>
              <a:buChar char="-"/>
              <a:defRPr sz="1800"/>
            </a:lvl3pPr>
            <a:lvl4pPr marL="892153" indent="-176209">
              <a:defRPr/>
            </a:lvl4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bulletpoint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8776" y="378001"/>
            <a:ext cx="8426450" cy="369332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headline, e.g. Agenda</a:t>
            </a:r>
            <a:endParaRPr lang="de-DE" dirty="0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6580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Q:\Fotos\EOS Bilderpool\neu_Brandpool\Fotolia_20-02-2015\Fotolia_75908528_X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3093052"/>
          </a:xfrm>
          <a:prstGeom prst="rect">
            <a:avLst/>
          </a:prstGeom>
          <a:noFill/>
        </p:spPr>
      </p:pic>
      <p:sp>
        <p:nvSpPr>
          <p:cNvPr id="15" name="Rechteck 3"/>
          <p:cNvSpPr/>
          <p:nvPr userDrawn="1"/>
        </p:nvSpPr>
        <p:spPr>
          <a:xfrm>
            <a:off x="-6611" y="2301241"/>
            <a:ext cx="9158400" cy="2606516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8641" h="3475355">
                <a:moveTo>
                  <a:pt x="0" y="451516"/>
                </a:moveTo>
                <a:cubicBezTo>
                  <a:pt x="4705350" y="2064416"/>
                  <a:pt x="8653816" y="254000"/>
                  <a:pt x="9158641" y="0"/>
                </a:cubicBezTo>
                <a:lnTo>
                  <a:pt x="9143413" y="3475355"/>
                </a:lnTo>
                <a:lnTo>
                  <a:pt x="8938" y="3475355"/>
                </a:lnTo>
                <a:cubicBezTo>
                  <a:pt x="5763" y="2786380"/>
                  <a:pt x="3175" y="1140491"/>
                  <a:pt x="0" y="4515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16" name="Freeform 25"/>
          <p:cNvSpPr>
            <a:spLocks/>
          </p:cNvSpPr>
          <p:nvPr userDrawn="1"/>
        </p:nvSpPr>
        <p:spPr bwMode="auto">
          <a:xfrm>
            <a:off x="-7197" y="1623063"/>
            <a:ext cx="9159241" cy="2424591"/>
          </a:xfrm>
          <a:custGeom>
            <a:avLst/>
            <a:gdLst/>
            <a:ahLst/>
            <a:cxnLst>
              <a:cxn ang="0">
                <a:pos x="0" y="527"/>
              </a:cxn>
              <a:cxn ang="0">
                <a:pos x="0" y="781"/>
              </a:cxn>
              <a:cxn ang="0">
                <a:pos x="5762" y="609"/>
              </a:cxn>
              <a:cxn ang="0">
                <a:pos x="5762" y="0"/>
              </a:cxn>
              <a:cxn ang="0">
                <a:pos x="0" y="527"/>
              </a:cxn>
            </a:cxnLst>
            <a:rect l="0" t="0" r="r" b="b"/>
            <a:pathLst>
              <a:path w="5762" h="1670">
                <a:moveTo>
                  <a:pt x="0" y="527"/>
                </a:moveTo>
                <a:cubicBezTo>
                  <a:pt x="0" y="527"/>
                  <a:pt x="0" y="653"/>
                  <a:pt x="0" y="781"/>
                </a:cubicBezTo>
                <a:cubicBezTo>
                  <a:pt x="2221" y="1670"/>
                  <a:pt x="4351" y="1248"/>
                  <a:pt x="5762" y="609"/>
                </a:cubicBezTo>
                <a:cubicBezTo>
                  <a:pt x="5762" y="304"/>
                  <a:pt x="5762" y="0"/>
                  <a:pt x="5762" y="0"/>
                </a:cubicBezTo>
                <a:cubicBezTo>
                  <a:pt x="4274" y="869"/>
                  <a:pt x="1922" y="1206"/>
                  <a:pt x="0" y="527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4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0366" y="4193472"/>
            <a:ext cx="7544942" cy="276999"/>
          </a:xfrm>
          <a:noFill/>
        </p:spPr>
        <p:txBody>
          <a:bodyPr wrap="square" lIns="0" tIns="0" rIns="0" bIns="0">
            <a:sp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 b="0">
                <a:solidFill>
                  <a:schemeClr val="tx2"/>
                </a:solidFill>
              </a:defRPr>
            </a:lvl2pPr>
            <a:lvl3pPr>
              <a:defRPr sz="1800" b="0">
                <a:solidFill>
                  <a:schemeClr val="tx2"/>
                </a:solidFill>
              </a:defRPr>
            </a:lvl3pPr>
            <a:lvl4pPr>
              <a:defRPr sz="1800" b="0">
                <a:solidFill>
                  <a:schemeClr val="tx2"/>
                </a:solidFill>
              </a:defRPr>
            </a:lvl4pPr>
            <a:lvl5pPr>
              <a:defRPr sz="1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60003" y="3778087"/>
            <a:ext cx="7545344" cy="400110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spcAft>
                <a:spcPts val="1200"/>
              </a:spcAft>
              <a:defRPr sz="2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17" name="Textfeld 16"/>
          <p:cNvSpPr txBox="1"/>
          <p:nvPr userDrawn="1"/>
        </p:nvSpPr>
        <p:spPr>
          <a:xfrm>
            <a:off x="360366" y="4730531"/>
            <a:ext cx="38385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kern="1200" baseline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With head and heart in finance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583" y="4332429"/>
            <a:ext cx="550800" cy="55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6137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Q:\Fotos\EOS Bilderpool\neu_Brandpool\Fotolia_20-02-2015\Fotolia_66387154_X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"/>
            <a:ext cx="9144000" cy="3069197"/>
          </a:xfrm>
          <a:prstGeom prst="rect">
            <a:avLst/>
          </a:prstGeom>
          <a:noFill/>
        </p:spPr>
      </p:pic>
      <p:sp>
        <p:nvSpPr>
          <p:cNvPr id="15" name="Rechteck 3"/>
          <p:cNvSpPr/>
          <p:nvPr userDrawn="1"/>
        </p:nvSpPr>
        <p:spPr>
          <a:xfrm>
            <a:off x="-6611" y="2301241"/>
            <a:ext cx="9158400" cy="2606516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8641" h="3475355">
                <a:moveTo>
                  <a:pt x="0" y="451516"/>
                </a:moveTo>
                <a:cubicBezTo>
                  <a:pt x="4705350" y="2064416"/>
                  <a:pt x="8653816" y="254000"/>
                  <a:pt x="9158641" y="0"/>
                </a:cubicBezTo>
                <a:lnTo>
                  <a:pt x="9143413" y="3475355"/>
                </a:lnTo>
                <a:lnTo>
                  <a:pt x="8938" y="3475355"/>
                </a:lnTo>
                <a:cubicBezTo>
                  <a:pt x="5763" y="2786380"/>
                  <a:pt x="3175" y="1140491"/>
                  <a:pt x="0" y="4515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16" name="Freeform 25"/>
          <p:cNvSpPr>
            <a:spLocks/>
          </p:cNvSpPr>
          <p:nvPr userDrawn="1"/>
        </p:nvSpPr>
        <p:spPr bwMode="auto">
          <a:xfrm>
            <a:off x="-7197" y="1623063"/>
            <a:ext cx="9159241" cy="2424591"/>
          </a:xfrm>
          <a:custGeom>
            <a:avLst/>
            <a:gdLst/>
            <a:ahLst/>
            <a:cxnLst>
              <a:cxn ang="0">
                <a:pos x="0" y="527"/>
              </a:cxn>
              <a:cxn ang="0">
                <a:pos x="0" y="781"/>
              </a:cxn>
              <a:cxn ang="0">
                <a:pos x="5762" y="609"/>
              </a:cxn>
              <a:cxn ang="0">
                <a:pos x="5762" y="0"/>
              </a:cxn>
              <a:cxn ang="0">
                <a:pos x="0" y="527"/>
              </a:cxn>
            </a:cxnLst>
            <a:rect l="0" t="0" r="r" b="b"/>
            <a:pathLst>
              <a:path w="5762" h="1670">
                <a:moveTo>
                  <a:pt x="0" y="527"/>
                </a:moveTo>
                <a:cubicBezTo>
                  <a:pt x="0" y="527"/>
                  <a:pt x="0" y="653"/>
                  <a:pt x="0" y="781"/>
                </a:cubicBezTo>
                <a:cubicBezTo>
                  <a:pt x="2221" y="1670"/>
                  <a:pt x="4351" y="1248"/>
                  <a:pt x="5762" y="609"/>
                </a:cubicBezTo>
                <a:cubicBezTo>
                  <a:pt x="5762" y="304"/>
                  <a:pt x="5762" y="0"/>
                  <a:pt x="5762" y="0"/>
                </a:cubicBezTo>
                <a:cubicBezTo>
                  <a:pt x="4274" y="869"/>
                  <a:pt x="1922" y="1206"/>
                  <a:pt x="0" y="527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4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0366" y="4193472"/>
            <a:ext cx="7544942" cy="276999"/>
          </a:xfrm>
          <a:noFill/>
        </p:spPr>
        <p:txBody>
          <a:bodyPr wrap="square" lIns="0" tIns="0" rIns="0" bIns="0">
            <a:sp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 b="0">
                <a:solidFill>
                  <a:schemeClr val="tx2"/>
                </a:solidFill>
              </a:defRPr>
            </a:lvl2pPr>
            <a:lvl3pPr>
              <a:defRPr sz="1800" b="0">
                <a:solidFill>
                  <a:schemeClr val="tx2"/>
                </a:solidFill>
              </a:defRPr>
            </a:lvl3pPr>
            <a:lvl4pPr>
              <a:defRPr sz="1800" b="0">
                <a:solidFill>
                  <a:schemeClr val="tx2"/>
                </a:solidFill>
              </a:defRPr>
            </a:lvl4pPr>
            <a:lvl5pPr>
              <a:defRPr sz="1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60003" y="3778087"/>
            <a:ext cx="7545344" cy="400110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spcAft>
                <a:spcPts val="1200"/>
              </a:spcAft>
              <a:defRPr sz="2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17" name="Textfeld 16"/>
          <p:cNvSpPr txBox="1"/>
          <p:nvPr userDrawn="1"/>
        </p:nvSpPr>
        <p:spPr>
          <a:xfrm>
            <a:off x="360366" y="4730531"/>
            <a:ext cx="38385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kern="1200" baseline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With head and heart in finance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583" y="4332429"/>
            <a:ext cx="550800" cy="55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0150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Q:\Fotos\EOS Bilderpool\neu_Brandpool\Fotolia_20-02-2015\Fotolia_43099348_X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"/>
            <a:ext cx="9144000" cy="3077155"/>
          </a:xfrm>
          <a:prstGeom prst="rect">
            <a:avLst/>
          </a:prstGeom>
          <a:noFill/>
        </p:spPr>
      </p:pic>
      <p:sp>
        <p:nvSpPr>
          <p:cNvPr id="15" name="Rechteck 3"/>
          <p:cNvSpPr/>
          <p:nvPr userDrawn="1"/>
        </p:nvSpPr>
        <p:spPr>
          <a:xfrm>
            <a:off x="-6611" y="2301241"/>
            <a:ext cx="9158400" cy="2606516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8641" h="3475355">
                <a:moveTo>
                  <a:pt x="0" y="451516"/>
                </a:moveTo>
                <a:cubicBezTo>
                  <a:pt x="4705350" y="2064416"/>
                  <a:pt x="8653816" y="254000"/>
                  <a:pt x="9158641" y="0"/>
                </a:cubicBezTo>
                <a:lnTo>
                  <a:pt x="9143413" y="3475355"/>
                </a:lnTo>
                <a:lnTo>
                  <a:pt x="8938" y="3475355"/>
                </a:lnTo>
                <a:cubicBezTo>
                  <a:pt x="5763" y="2786380"/>
                  <a:pt x="3175" y="1140491"/>
                  <a:pt x="0" y="4515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16" name="Freeform 25"/>
          <p:cNvSpPr>
            <a:spLocks/>
          </p:cNvSpPr>
          <p:nvPr userDrawn="1"/>
        </p:nvSpPr>
        <p:spPr bwMode="auto">
          <a:xfrm>
            <a:off x="-7197" y="1623063"/>
            <a:ext cx="9159241" cy="2424591"/>
          </a:xfrm>
          <a:custGeom>
            <a:avLst/>
            <a:gdLst/>
            <a:ahLst/>
            <a:cxnLst>
              <a:cxn ang="0">
                <a:pos x="0" y="527"/>
              </a:cxn>
              <a:cxn ang="0">
                <a:pos x="0" y="781"/>
              </a:cxn>
              <a:cxn ang="0">
                <a:pos x="5762" y="609"/>
              </a:cxn>
              <a:cxn ang="0">
                <a:pos x="5762" y="0"/>
              </a:cxn>
              <a:cxn ang="0">
                <a:pos x="0" y="527"/>
              </a:cxn>
            </a:cxnLst>
            <a:rect l="0" t="0" r="r" b="b"/>
            <a:pathLst>
              <a:path w="5762" h="1670">
                <a:moveTo>
                  <a:pt x="0" y="527"/>
                </a:moveTo>
                <a:cubicBezTo>
                  <a:pt x="0" y="527"/>
                  <a:pt x="0" y="653"/>
                  <a:pt x="0" y="781"/>
                </a:cubicBezTo>
                <a:cubicBezTo>
                  <a:pt x="2221" y="1670"/>
                  <a:pt x="4351" y="1248"/>
                  <a:pt x="5762" y="609"/>
                </a:cubicBezTo>
                <a:cubicBezTo>
                  <a:pt x="5762" y="304"/>
                  <a:pt x="5762" y="0"/>
                  <a:pt x="5762" y="0"/>
                </a:cubicBezTo>
                <a:cubicBezTo>
                  <a:pt x="4274" y="869"/>
                  <a:pt x="1922" y="1206"/>
                  <a:pt x="0" y="527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4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0366" y="4193472"/>
            <a:ext cx="7544942" cy="276999"/>
          </a:xfrm>
          <a:noFill/>
        </p:spPr>
        <p:txBody>
          <a:bodyPr wrap="square" lIns="0" tIns="0" rIns="0" bIns="0">
            <a:sp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 b="0">
                <a:solidFill>
                  <a:schemeClr val="tx2"/>
                </a:solidFill>
              </a:defRPr>
            </a:lvl2pPr>
            <a:lvl3pPr>
              <a:defRPr sz="1800" b="0">
                <a:solidFill>
                  <a:schemeClr val="tx2"/>
                </a:solidFill>
              </a:defRPr>
            </a:lvl3pPr>
            <a:lvl4pPr>
              <a:defRPr sz="1800" b="0">
                <a:solidFill>
                  <a:schemeClr val="tx2"/>
                </a:solidFill>
              </a:defRPr>
            </a:lvl4pPr>
            <a:lvl5pPr>
              <a:defRPr sz="1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60003" y="3778087"/>
            <a:ext cx="7545344" cy="400110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spcAft>
                <a:spcPts val="1200"/>
              </a:spcAft>
              <a:defRPr sz="2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17" name="Textfeld 16"/>
          <p:cNvSpPr txBox="1"/>
          <p:nvPr userDrawn="1"/>
        </p:nvSpPr>
        <p:spPr>
          <a:xfrm>
            <a:off x="360366" y="4730531"/>
            <a:ext cx="38385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kern="1200" baseline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With head and heart in finance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583" y="4332429"/>
            <a:ext cx="550800" cy="55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3058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Q:\Fotos\EOS Bilderpool\neu_Brandpool\Fotolia_20-02-2015\Fotolia_73740955_X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"/>
            <a:ext cx="9144000" cy="3124863"/>
          </a:xfrm>
          <a:prstGeom prst="rect">
            <a:avLst/>
          </a:prstGeom>
          <a:noFill/>
        </p:spPr>
      </p:pic>
      <p:sp>
        <p:nvSpPr>
          <p:cNvPr id="15" name="Rechteck 3"/>
          <p:cNvSpPr/>
          <p:nvPr userDrawn="1"/>
        </p:nvSpPr>
        <p:spPr>
          <a:xfrm>
            <a:off x="-6611" y="2301241"/>
            <a:ext cx="9158400" cy="2606516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8641" h="3475355">
                <a:moveTo>
                  <a:pt x="0" y="451516"/>
                </a:moveTo>
                <a:cubicBezTo>
                  <a:pt x="4705350" y="2064416"/>
                  <a:pt x="8653816" y="254000"/>
                  <a:pt x="9158641" y="0"/>
                </a:cubicBezTo>
                <a:lnTo>
                  <a:pt x="9143413" y="3475355"/>
                </a:lnTo>
                <a:lnTo>
                  <a:pt x="8938" y="3475355"/>
                </a:lnTo>
                <a:cubicBezTo>
                  <a:pt x="5763" y="2786380"/>
                  <a:pt x="3175" y="1140491"/>
                  <a:pt x="0" y="4515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16" name="Freeform 25"/>
          <p:cNvSpPr>
            <a:spLocks/>
          </p:cNvSpPr>
          <p:nvPr userDrawn="1"/>
        </p:nvSpPr>
        <p:spPr bwMode="auto">
          <a:xfrm>
            <a:off x="-7197" y="1623063"/>
            <a:ext cx="9159241" cy="2424591"/>
          </a:xfrm>
          <a:custGeom>
            <a:avLst/>
            <a:gdLst/>
            <a:ahLst/>
            <a:cxnLst>
              <a:cxn ang="0">
                <a:pos x="0" y="527"/>
              </a:cxn>
              <a:cxn ang="0">
                <a:pos x="0" y="781"/>
              </a:cxn>
              <a:cxn ang="0">
                <a:pos x="5762" y="609"/>
              </a:cxn>
              <a:cxn ang="0">
                <a:pos x="5762" y="0"/>
              </a:cxn>
              <a:cxn ang="0">
                <a:pos x="0" y="527"/>
              </a:cxn>
            </a:cxnLst>
            <a:rect l="0" t="0" r="r" b="b"/>
            <a:pathLst>
              <a:path w="5762" h="1670">
                <a:moveTo>
                  <a:pt x="0" y="527"/>
                </a:moveTo>
                <a:cubicBezTo>
                  <a:pt x="0" y="527"/>
                  <a:pt x="0" y="653"/>
                  <a:pt x="0" y="781"/>
                </a:cubicBezTo>
                <a:cubicBezTo>
                  <a:pt x="2221" y="1670"/>
                  <a:pt x="4351" y="1248"/>
                  <a:pt x="5762" y="609"/>
                </a:cubicBezTo>
                <a:cubicBezTo>
                  <a:pt x="5762" y="304"/>
                  <a:pt x="5762" y="0"/>
                  <a:pt x="5762" y="0"/>
                </a:cubicBezTo>
                <a:cubicBezTo>
                  <a:pt x="4274" y="869"/>
                  <a:pt x="1922" y="1206"/>
                  <a:pt x="0" y="527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4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0366" y="4193472"/>
            <a:ext cx="7544942" cy="276999"/>
          </a:xfrm>
          <a:noFill/>
        </p:spPr>
        <p:txBody>
          <a:bodyPr wrap="square" lIns="0" tIns="0" rIns="0" bIns="0">
            <a:sp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 b="0">
                <a:solidFill>
                  <a:schemeClr val="tx2"/>
                </a:solidFill>
              </a:defRPr>
            </a:lvl2pPr>
            <a:lvl3pPr>
              <a:defRPr sz="1800" b="0">
                <a:solidFill>
                  <a:schemeClr val="tx2"/>
                </a:solidFill>
              </a:defRPr>
            </a:lvl3pPr>
            <a:lvl4pPr>
              <a:defRPr sz="1800" b="0">
                <a:solidFill>
                  <a:schemeClr val="tx2"/>
                </a:solidFill>
              </a:defRPr>
            </a:lvl4pPr>
            <a:lvl5pPr>
              <a:defRPr sz="1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60003" y="3778087"/>
            <a:ext cx="7545344" cy="400110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spcAft>
                <a:spcPts val="1200"/>
              </a:spcAft>
              <a:defRPr sz="2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17" name="Textfeld 16"/>
          <p:cNvSpPr txBox="1"/>
          <p:nvPr userDrawn="1"/>
        </p:nvSpPr>
        <p:spPr>
          <a:xfrm>
            <a:off x="360366" y="4730531"/>
            <a:ext cx="38385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kern="1200" baseline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With head and heart in finance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583" y="4332429"/>
            <a:ext cx="550800" cy="55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0336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Q:\Fotos\2015_ErgänzungBilderpool\CCM\2014-11-19 EOS Event (459).jpg"/>
          <p:cNvPicPr>
            <a:picLocks noChangeAspect="1" noChangeArrowheads="1"/>
          </p:cNvPicPr>
          <p:nvPr userDrawn="1"/>
        </p:nvPicPr>
        <p:blipFill>
          <a:blip r:embed="rId2" cstate="screen"/>
          <a:srcRect t="6921" r="14189" b="17143"/>
          <a:stretch>
            <a:fillRect/>
          </a:stretch>
        </p:blipFill>
        <p:spPr bwMode="auto">
          <a:xfrm>
            <a:off x="0" y="1"/>
            <a:ext cx="9144000" cy="3053292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Rechteck 3"/>
          <p:cNvSpPr/>
          <p:nvPr userDrawn="1"/>
        </p:nvSpPr>
        <p:spPr>
          <a:xfrm>
            <a:off x="-6485" y="2301241"/>
            <a:ext cx="9158400" cy="2606516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8641" h="3475355">
                <a:moveTo>
                  <a:pt x="0" y="451516"/>
                </a:moveTo>
                <a:cubicBezTo>
                  <a:pt x="4705350" y="2064416"/>
                  <a:pt x="8653816" y="254000"/>
                  <a:pt x="9158641" y="0"/>
                </a:cubicBezTo>
                <a:lnTo>
                  <a:pt x="9143413" y="3475355"/>
                </a:lnTo>
                <a:lnTo>
                  <a:pt x="8938" y="3475355"/>
                </a:lnTo>
                <a:cubicBezTo>
                  <a:pt x="5763" y="2786380"/>
                  <a:pt x="3175" y="1140491"/>
                  <a:pt x="0" y="4515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16" name="Freeform 25"/>
          <p:cNvSpPr>
            <a:spLocks/>
          </p:cNvSpPr>
          <p:nvPr userDrawn="1"/>
        </p:nvSpPr>
        <p:spPr bwMode="auto">
          <a:xfrm>
            <a:off x="-7197" y="1623063"/>
            <a:ext cx="9159241" cy="2424591"/>
          </a:xfrm>
          <a:custGeom>
            <a:avLst/>
            <a:gdLst/>
            <a:ahLst/>
            <a:cxnLst>
              <a:cxn ang="0">
                <a:pos x="0" y="527"/>
              </a:cxn>
              <a:cxn ang="0">
                <a:pos x="0" y="781"/>
              </a:cxn>
              <a:cxn ang="0">
                <a:pos x="5762" y="609"/>
              </a:cxn>
              <a:cxn ang="0">
                <a:pos x="5762" y="0"/>
              </a:cxn>
              <a:cxn ang="0">
                <a:pos x="0" y="527"/>
              </a:cxn>
            </a:cxnLst>
            <a:rect l="0" t="0" r="r" b="b"/>
            <a:pathLst>
              <a:path w="5762" h="1670">
                <a:moveTo>
                  <a:pt x="0" y="527"/>
                </a:moveTo>
                <a:cubicBezTo>
                  <a:pt x="0" y="527"/>
                  <a:pt x="0" y="653"/>
                  <a:pt x="0" y="781"/>
                </a:cubicBezTo>
                <a:cubicBezTo>
                  <a:pt x="2221" y="1670"/>
                  <a:pt x="4351" y="1248"/>
                  <a:pt x="5762" y="609"/>
                </a:cubicBezTo>
                <a:cubicBezTo>
                  <a:pt x="5762" y="304"/>
                  <a:pt x="5762" y="0"/>
                  <a:pt x="5762" y="0"/>
                </a:cubicBezTo>
                <a:cubicBezTo>
                  <a:pt x="4274" y="869"/>
                  <a:pt x="1922" y="1206"/>
                  <a:pt x="0" y="527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4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0366" y="4193472"/>
            <a:ext cx="7544942" cy="276999"/>
          </a:xfrm>
          <a:noFill/>
        </p:spPr>
        <p:txBody>
          <a:bodyPr wrap="square" lIns="0" tIns="0" rIns="0" bIns="0">
            <a:sp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 b="0">
                <a:solidFill>
                  <a:schemeClr val="tx2"/>
                </a:solidFill>
              </a:defRPr>
            </a:lvl2pPr>
            <a:lvl3pPr>
              <a:defRPr sz="1800" b="0">
                <a:solidFill>
                  <a:schemeClr val="tx2"/>
                </a:solidFill>
              </a:defRPr>
            </a:lvl3pPr>
            <a:lvl4pPr>
              <a:defRPr sz="1800" b="0">
                <a:solidFill>
                  <a:schemeClr val="tx2"/>
                </a:solidFill>
              </a:defRPr>
            </a:lvl4pPr>
            <a:lvl5pPr>
              <a:defRPr sz="1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60003" y="3778087"/>
            <a:ext cx="7545344" cy="400110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spcAft>
                <a:spcPts val="1200"/>
              </a:spcAft>
              <a:defRPr sz="2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17" name="Textfeld 16"/>
          <p:cNvSpPr txBox="1"/>
          <p:nvPr userDrawn="1"/>
        </p:nvSpPr>
        <p:spPr>
          <a:xfrm>
            <a:off x="360366" y="4730531"/>
            <a:ext cx="38385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kern="1200" baseline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With head and heart in finance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583" y="4332429"/>
            <a:ext cx="550800" cy="55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07905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3"/>
          <p:cNvSpPr/>
          <p:nvPr userDrawn="1"/>
        </p:nvSpPr>
        <p:spPr>
          <a:xfrm>
            <a:off x="-6485" y="2301241"/>
            <a:ext cx="9158400" cy="2606516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8641" h="3475355">
                <a:moveTo>
                  <a:pt x="0" y="451516"/>
                </a:moveTo>
                <a:cubicBezTo>
                  <a:pt x="4705350" y="2064416"/>
                  <a:pt x="8653816" y="254000"/>
                  <a:pt x="9158641" y="0"/>
                </a:cubicBezTo>
                <a:lnTo>
                  <a:pt x="9143413" y="3475355"/>
                </a:lnTo>
                <a:lnTo>
                  <a:pt x="8938" y="3475355"/>
                </a:lnTo>
                <a:cubicBezTo>
                  <a:pt x="5763" y="2786380"/>
                  <a:pt x="3175" y="1140491"/>
                  <a:pt x="0" y="4515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pic>
        <p:nvPicPr>
          <p:cNvPr id="13" name="Picture 2" descr="K:\EOS\05_Präsentationsgestaltung\2016\Sudendorf, Amrei\EOS Präsentationen\03_Media\Bilder\Fotolia_78192389_X.jpg"/>
          <p:cNvPicPr>
            <a:picLocks noChangeAspect="1" noChangeArrowheads="1"/>
          </p:cNvPicPr>
          <p:nvPr userDrawn="1"/>
        </p:nvPicPr>
        <p:blipFill>
          <a:blip r:embed="rId2" cstate="print"/>
          <a:srcRect t="16367" b="19038"/>
          <a:stretch>
            <a:fillRect/>
          </a:stretch>
        </p:blipFill>
        <p:spPr bwMode="auto">
          <a:xfrm>
            <a:off x="-506" y="-2581"/>
            <a:ext cx="9144001" cy="3942279"/>
          </a:xfrm>
          <a:prstGeom prst="rect">
            <a:avLst/>
          </a:prstGeom>
          <a:noFill/>
        </p:spPr>
      </p:pic>
      <p:sp>
        <p:nvSpPr>
          <p:cNvPr id="14" name="Rechteck 3"/>
          <p:cNvSpPr/>
          <p:nvPr userDrawn="1"/>
        </p:nvSpPr>
        <p:spPr>
          <a:xfrm>
            <a:off x="-6349" y="2301876"/>
            <a:ext cx="9155113" cy="2605088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8641" h="3475355">
                <a:moveTo>
                  <a:pt x="0" y="451516"/>
                </a:moveTo>
                <a:cubicBezTo>
                  <a:pt x="4705350" y="2064416"/>
                  <a:pt x="8653816" y="254000"/>
                  <a:pt x="9158641" y="0"/>
                </a:cubicBezTo>
                <a:lnTo>
                  <a:pt x="9143413" y="3475355"/>
                </a:lnTo>
                <a:lnTo>
                  <a:pt x="8938" y="3475355"/>
                </a:lnTo>
                <a:cubicBezTo>
                  <a:pt x="5763" y="2786380"/>
                  <a:pt x="3175" y="1140491"/>
                  <a:pt x="0" y="4515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0366" y="4193472"/>
            <a:ext cx="7544942" cy="276999"/>
          </a:xfrm>
          <a:noFill/>
        </p:spPr>
        <p:txBody>
          <a:bodyPr wrap="square" lIns="0" tIns="0" rIns="0" bIns="0">
            <a:sp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 b="0">
                <a:solidFill>
                  <a:schemeClr val="tx2"/>
                </a:solidFill>
              </a:defRPr>
            </a:lvl2pPr>
            <a:lvl3pPr>
              <a:defRPr sz="1800" b="0">
                <a:solidFill>
                  <a:schemeClr val="tx2"/>
                </a:solidFill>
              </a:defRPr>
            </a:lvl3pPr>
            <a:lvl4pPr>
              <a:defRPr sz="1800" b="0">
                <a:solidFill>
                  <a:schemeClr val="tx2"/>
                </a:solidFill>
              </a:defRPr>
            </a:lvl4pPr>
            <a:lvl5pPr>
              <a:defRPr sz="1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60003" y="3778087"/>
            <a:ext cx="7545344" cy="400110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spcAft>
                <a:spcPts val="1200"/>
              </a:spcAft>
              <a:defRPr sz="2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17" name="Textfeld 16"/>
          <p:cNvSpPr txBox="1"/>
          <p:nvPr userDrawn="1"/>
        </p:nvSpPr>
        <p:spPr>
          <a:xfrm>
            <a:off x="360366" y="4730531"/>
            <a:ext cx="38385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kern="1200" baseline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With head and heart in finance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583" y="4332429"/>
            <a:ext cx="550800" cy="55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4578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1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3" y="2"/>
            <a:ext cx="9143998" cy="351492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10" name="Rechteck 3"/>
          <p:cNvSpPr/>
          <p:nvPr userDrawn="1"/>
        </p:nvSpPr>
        <p:spPr>
          <a:xfrm>
            <a:off x="-4763" y="2508393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0366" y="4193472"/>
            <a:ext cx="7544942" cy="276999"/>
          </a:xfrm>
          <a:noFill/>
        </p:spPr>
        <p:txBody>
          <a:bodyPr wrap="square" lIns="0" tIns="0" rIns="0" bIns="0">
            <a:sp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 b="0">
                <a:solidFill>
                  <a:schemeClr val="tx2"/>
                </a:solidFill>
              </a:defRPr>
            </a:lvl2pPr>
            <a:lvl3pPr>
              <a:defRPr sz="1800" b="0">
                <a:solidFill>
                  <a:schemeClr val="tx2"/>
                </a:solidFill>
              </a:defRPr>
            </a:lvl3pPr>
            <a:lvl4pPr>
              <a:defRPr sz="1800" b="0">
                <a:solidFill>
                  <a:schemeClr val="tx2"/>
                </a:solidFill>
              </a:defRPr>
            </a:lvl4pPr>
            <a:lvl5pPr>
              <a:defRPr sz="1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60003" y="3778087"/>
            <a:ext cx="7545344" cy="400110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spcAft>
                <a:spcPts val="1200"/>
              </a:spcAft>
              <a:defRPr sz="2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17" name="Textfeld 16"/>
          <p:cNvSpPr txBox="1"/>
          <p:nvPr userDrawn="1"/>
        </p:nvSpPr>
        <p:spPr>
          <a:xfrm>
            <a:off x="360366" y="4730531"/>
            <a:ext cx="38385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kern="1200" baseline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With head and heart in finance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583" y="4332429"/>
            <a:ext cx="550800" cy="55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49312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6" hasCustomPrompt="1"/>
          </p:nvPr>
        </p:nvSpPr>
        <p:spPr>
          <a:xfrm>
            <a:off x="6085227" y="1220391"/>
            <a:ext cx="2700000" cy="3308400"/>
          </a:xfrm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7" name="Line 15"/>
          <p:cNvSpPr>
            <a:spLocks noChangeShapeType="1"/>
          </p:cNvSpPr>
          <p:nvPr userDrawn="1"/>
        </p:nvSpPr>
        <p:spPr bwMode="auto">
          <a:xfrm flipV="1">
            <a:off x="358776" y="4597004"/>
            <a:ext cx="842645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240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587A00-45C5-427A-BDF7-9B55021A5AD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6" y="1220392"/>
            <a:ext cx="5564188" cy="3309938"/>
          </a:xfrm>
        </p:spPr>
        <p:txBody>
          <a:bodyPr tIns="0" bIns="0">
            <a:normAutofit/>
          </a:bodyPr>
          <a:lstStyle>
            <a:lvl1pPr marL="358766" indent="-358766"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1800" b="0">
                <a:solidFill>
                  <a:schemeClr val="tx1"/>
                </a:solidFill>
              </a:defRPr>
            </a:lvl1pPr>
            <a:lvl2pPr marL="542912" indent="-180971">
              <a:spcAft>
                <a:spcPts val="600"/>
              </a:spcAft>
              <a:buClr>
                <a:schemeClr val="bg2"/>
              </a:buClr>
              <a:buSzPct val="90000"/>
              <a:buFont typeface="Wingdings" pitchFamily="2" charset="2"/>
              <a:buChar char="§"/>
              <a:defRPr sz="1800"/>
            </a:lvl2pPr>
            <a:lvl3pPr marL="714357" indent="-171446">
              <a:spcAft>
                <a:spcPts val="600"/>
              </a:spcAft>
              <a:buFont typeface="Symbol" pitchFamily="18" charset="2"/>
              <a:buChar char="-"/>
              <a:defRPr sz="1800"/>
            </a:lvl3pPr>
            <a:lvl4pPr marL="892153" indent="-176209">
              <a:defRPr/>
            </a:lvl4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bulletpoint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8776" y="378001"/>
            <a:ext cx="8426450" cy="369332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headline, e.g. Agenda</a:t>
            </a:r>
            <a:endParaRPr lang="de-DE" dirty="0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0470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Q:\Fotos\EOS Bilderpool\neu_Brandpool\Fotolia_20-02-2015\Fotolia_38985259_X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 flipH="1">
            <a:off x="0" y="0"/>
            <a:ext cx="9144000" cy="2552364"/>
          </a:xfrm>
          <a:prstGeom prst="rect">
            <a:avLst/>
          </a:prstGeom>
          <a:noFill/>
        </p:spPr>
      </p:pic>
      <p:sp>
        <p:nvSpPr>
          <p:cNvPr id="13" name="Rechteck 3"/>
          <p:cNvSpPr/>
          <p:nvPr userDrawn="1"/>
        </p:nvSpPr>
        <p:spPr>
          <a:xfrm>
            <a:off x="-4763" y="1535626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3" y="3259544"/>
            <a:ext cx="7214087" cy="332399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baseline="0">
                <a:solidFill>
                  <a:schemeClr val="tx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chapter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3" y="3656936"/>
            <a:ext cx="7199801" cy="276999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8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61077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 descr="C:\Users\TrapperN\AppData\Local\Temp\Fotolia_73697266_X.jpg"/>
          <p:cNvPicPr>
            <a:picLocks noChangeAspect="1" noChangeArrowheads="1"/>
          </p:cNvPicPr>
          <p:nvPr userDrawn="1"/>
        </p:nvPicPr>
        <p:blipFill rotWithShape="1">
          <a:blip r:embed="rId2" cstate="print"/>
          <a:srcRect r="398" b="398"/>
          <a:stretch/>
        </p:blipFill>
        <p:spPr bwMode="auto">
          <a:xfrm flipH="1">
            <a:off x="0" y="2"/>
            <a:ext cx="9144000" cy="2615975"/>
          </a:xfrm>
          <a:prstGeom prst="rect">
            <a:avLst/>
          </a:prstGeom>
          <a:noFill/>
        </p:spPr>
      </p:pic>
      <p:sp>
        <p:nvSpPr>
          <p:cNvPr id="11" name="Rechteck 3"/>
          <p:cNvSpPr/>
          <p:nvPr userDrawn="1"/>
        </p:nvSpPr>
        <p:spPr>
          <a:xfrm>
            <a:off x="-4763" y="1535626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3" y="3259544"/>
            <a:ext cx="7214087" cy="332399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>
                <a:solidFill>
                  <a:schemeClr val="tx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chapter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3" y="3656936"/>
            <a:ext cx="7199801" cy="276999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8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7876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9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1"/>
            <a:ext cx="9144000" cy="258107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10" name="Rechteck 3"/>
          <p:cNvSpPr/>
          <p:nvPr userDrawn="1"/>
        </p:nvSpPr>
        <p:spPr>
          <a:xfrm>
            <a:off x="-4763" y="1535626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3" y="3259544"/>
            <a:ext cx="7214087" cy="332399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>
                <a:solidFill>
                  <a:schemeClr val="tx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chapter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3" y="3656936"/>
            <a:ext cx="7199801" cy="276999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8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85223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Q:\Fotos\EOS Bilderpool\neu_Brandpool\Fotolia_20-02-2015\Fotolia_67961716_X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11388"/>
          </a:xfrm>
          <a:prstGeom prst="rect">
            <a:avLst/>
          </a:prstGeom>
          <a:noFill/>
        </p:spPr>
      </p:pic>
      <p:sp>
        <p:nvSpPr>
          <p:cNvPr id="11" name="Rechteck 3"/>
          <p:cNvSpPr/>
          <p:nvPr userDrawn="1"/>
        </p:nvSpPr>
        <p:spPr>
          <a:xfrm>
            <a:off x="-4763" y="1535626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3" y="3259544"/>
            <a:ext cx="7214087" cy="332399"/>
          </a:xfrm>
        </p:spPr>
        <p:txBody>
          <a:bodyPr wrap="square" lIns="0" tIns="0" rIns="0" bIns="0" anchor="b" anchorCtr="0">
            <a:sp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0">
                <a:solidFill>
                  <a:schemeClr val="tx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chapter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3" y="3656936"/>
            <a:ext cx="7199801" cy="276999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8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537647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Q:\Fotos\EOS Bilderpool\neu_Brandpool\Fotolia_20-02-2015\Fotolia_66186012_X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574040"/>
          </a:xfrm>
          <a:prstGeom prst="rect">
            <a:avLst/>
          </a:prstGeom>
          <a:noFill/>
        </p:spPr>
      </p:pic>
      <p:sp>
        <p:nvSpPr>
          <p:cNvPr id="11" name="Rechteck 3"/>
          <p:cNvSpPr/>
          <p:nvPr userDrawn="1"/>
        </p:nvSpPr>
        <p:spPr>
          <a:xfrm>
            <a:off x="-4763" y="1535626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3" y="3259544"/>
            <a:ext cx="7214087" cy="332399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baseline="0">
                <a:solidFill>
                  <a:schemeClr val="tx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chapter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3" y="3656936"/>
            <a:ext cx="7199801" cy="276999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8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5450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Q:\Fotos\EOS Bilderpool\neu_Brandpool\Fotolia_20-02-2015\Fotolia_71250072_X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"/>
            <a:ext cx="9144000" cy="2663683"/>
          </a:xfrm>
          <a:prstGeom prst="rect">
            <a:avLst/>
          </a:prstGeom>
          <a:noFill/>
        </p:spPr>
      </p:pic>
      <p:sp>
        <p:nvSpPr>
          <p:cNvPr id="11" name="Rechteck 3"/>
          <p:cNvSpPr/>
          <p:nvPr userDrawn="1"/>
        </p:nvSpPr>
        <p:spPr>
          <a:xfrm>
            <a:off x="-4763" y="1535626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3" y="3259544"/>
            <a:ext cx="7214087" cy="332399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>
                <a:solidFill>
                  <a:schemeClr val="tx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chapter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3" y="3656936"/>
            <a:ext cx="7199801" cy="276999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8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67301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Q:\Fotos\EOS Bilderpool\neu_Brandpool\Fotolia_20-02-2015\Fotolia_76702605_X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"/>
            <a:ext cx="9144000" cy="2615979"/>
          </a:xfrm>
          <a:prstGeom prst="rect">
            <a:avLst/>
          </a:prstGeom>
          <a:noFill/>
        </p:spPr>
      </p:pic>
      <p:sp>
        <p:nvSpPr>
          <p:cNvPr id="11" name="Rechteck 3"/>
          <p:cNvSpPr/>
          <p:nvPr userDrawn="1"/>
        </p:nvSpPr>
        <p:spPr>
          <a:xfrm>
            <a:off x="-4763" y="1535626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3" y="3259544"/>
            <a:ext cx="7214087" cy="332399"/>
          </a:xfrm>
        </p:spPr>
        <p:txBody>
          <a:bodyPr wrap="square" lIns="0" tIns="0" rIns="0" bIns="0" anchor="b" anchorCtr="0">
            <a:sp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0">
                <a:solidFill>
                  <a:schemeClr val="tx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chapter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3" y="3656936"/>
            <a:ext cx="7199801" cy="276999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8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72726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Q:\Fotos\EOS Bilderpool\neu_Brandpool\Fotolia_20-02-2015\Fotolia_65538145_X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592120"/>
          </a:xfrm>
          <a:prstGeom prst="rect">
            <a:avLst/>
          </a:prstGeom>
          <a:noFill/>
        </p:spPr>
      </p:pic>
      <p:sp>
        <p:nvSpPr>
          <p:cNvPr id="11" name="Rechteck 3"/>
          <p:cNvSpPr/>
          <p:nvPr userDrawn="1"/>
        </p:nvSpPr>
        <p:spPr>
          <a:xfrm>
            <a:off x="-4763" y="1535626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3" y="3259544"/>
            <a:ext cx="7214087" cy="332399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>
                <a:solidFill>
                  <a:schemeClr val="tx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chapter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3" y="3656936"/>
            <a:ext cx="7199801" cy="276999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8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269247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C:\Users\tehranchin\Desktop\facebook_II_colour.jpg"/>
          <p:cNvPicPr>
            <a:picLocks noChangeAspect="1" noChangeArrowheads="1"/>
          </p:cNvPicPr>
          <p:nvPr userDrawn="1"/>
        </p:nvPicPr>
        <p:blipFill rotWithShape="1">
          <a:blip r:embed="rId2" cstate="screen"/>
          <a:srcRect t="15045" b="3418"/>
          <a:stretch/>
        </p:blipFill>
        <p:spPr bwMode="auto">
          <a:xfrm>
            <a:off x="-7201" y="7"/>
            <a:ext cx="9151201" cy="2671633"/>
          </a:xfrm>
          <a:prstGeom prst="rect">
            <a:avLst/>
          </a:prstGeom>
          <a:noFill/>
        </p:spPr>
      </p:pic>
      <p:sp>
        <p:nvSpPr>
          <p:cNvPr id="11" name="Rechteck 3"/>
          <p:cNvSpPr/>
          <p:nvPr userDrawn="1"/>
        </p:nvSpPr>
        <p:spPr>
          <a:xfrm>
            <a:off x="-4763" y="1535626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3" y="3259544"/>
            <a:ext cx="7214087" cy="332399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>
                <a:solidFill>
                  <a:schemeClr val="tx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chapter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3" y="3656936"/>
            <a:ext cx="7199801" cy="276999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8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537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9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1"/>
            <a:ext cx="9144000" cy="258107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10" name="Rechteck 3"/>
          <p:cNvSpPr/>
          <p:nvPr userDrawn="1"/>
        </p:nvSpPr>
        <p:spPr>
          <a:xfrm>
            <a:off x="-4763" y="1535626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3" y="3259544"/>
            <a:ext cx="7214087" cy="332399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>
                <a:solidFill>
                  <a:schemeClr val="tx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chapter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3" y="3656936"/>
            <a:ext cx="7199801" cy="276999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8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9858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10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1"/>
            <a:ext cx="9144000" cy="2581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10" name="Rechteck 3"/>
          <p:cNvSpPr/>
          <p:nvPr userDrawn="1"/>
        </p:nvSpPr>
        <p:spPr>
          <a:xfrm>
            <a:off x="-4763" y="1535626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3" y="3259544"/>
            <a:ext cx="7214087" cy="332399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>
                <a:solidFill>
                  <a:schemeClr val="tx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chapter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3" y="3656936"/>
            <a:ext cx="7199801" cy="276999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8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00291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splatzhalter 17"/>
          <p:cNvSpPr>
            <a:spLocks noGrp="1"/>
          </p:cNvSpPr>
          <p:nvPr>
            <p:ph sz="quarter" idx="15" hasCustomPrompt="1"/>
          </p:nvPr>
        </p:nvSpPr>
        <p:spPr>
          <a:xfrm>
            <a:off x="358780" y="1220392"/>
            <a:ext cx="8423275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headli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587A00-45C5-427A-BDF7-9B55021A5AD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Line 15"/>
          <p:cNvSpPr>
            <a:spLocks noChangeShapeType="1"/>
          </p:cNvSpPr>
          <p:nvPr userDrawn="1"/>
        </p:nvSpPr>
        <p:spPr bwMode="auto">
          <a:xfrm flipV="1">
            <a:off x="358775" y="4597004"/>
            <a:ext cx="8424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240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35000"/>
            <a:ext cx="8424000" cy="184666"/>
          </a:xfrm>
        </p:spPr>
        <p:txBody>
          <a:bodyPr lIns="0" tIns="0" rIns="0" bIns="0">
            <a:noAutofit/>
          </a:bodyPr>
          <a:lstStyle>
            <a:lvl1pPr>
              <a:defRPr sz="12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add chapter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1669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4"/>
          <p:cNvSpPr>
            <a:spLocks noGrp="1"/>
          </p:cNvSpPr>
          <p:nvPr>
            <p:ph sz="quarter" idx="16" hasCustomPrompt="1"/>
          </p:nvPr>
        </p:nvSpPr>
        <p:spPr>
          <a:xfrm>
            <a:off x="358778" y="1220392"/>
            <a:ext cx="4130676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17" name="Inhaltsplatzhalter 16"/>
          <p:cNvSpPr>
            <a:spLocks noGrp="1"/>
          </p:cNvSpPr>
          <p:nvPr>
            <p:ph sz="quarter" idx="17" hasCustomPrompt="1"/>
          </p:nvPr>
        </p:nvSpPr>
        <p:spPr>
          <a:xfrm>
            <a:off x="4656143" y="1220392"/>
            <a:ext cx="4126636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headli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587A00-45C5-427A-BDF7-9B55021A5AD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6" y="135000"/>
            <a:ext cx="8426450" cy="184666"/>
          </a:xfrm>
        </p:spPr>
        <p:txBody>
          <a:bodyPr lIns="0" tIns="0" rIns="0" bIns="0">
            <a:noAutofit/>
          </a:bodyPr>
          <a:lstStyle>
            <a:lvl1pPr marL="0" indent="0" algn="l" defTabSz="914378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de-DE" sz="1200" b="0" kern="1200" baseline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chapter</a:t>
            </a:r>
          </a:p>
        </p:txBody>
      </p:sp>
      <p:sp>
        <p:nvSpPr>
          <p:cNvPr id="13" name="Line 15"/>
          <p:cNvSpPr>
            <a:spLocks noChangeShapeType="1"/>
          </p:cNvSpPr>
          <p:nvPr userDrawn="1"/>
        </p:nvSpPr>
        <p:spPr bwMode="auto">
          <a:xfrm flipV="1">
            <a:off x="358775" y="4597004"/>
            <a:ext cx="8424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2400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3396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10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1"/>
            <a:ext cx="9144000" cy="2581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10" name="Rechteck 3"/>
          <p:cNvSpPr/>
          <p:nvPr userDrawn="1"/>
        </p:nvSpPr>
        <p:spPr>
          <a:xfrm>
            <a:off x="-4763" y="1535626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3" y="3259544"/>
            <a:ext cx="7214087" cy="332399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>
                <a:solidFill>
                  <a:schemeClr val="tx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chapter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3" y="3656936"/>
            <a:ext cx="7199801" cy="276999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8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97158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8" hasCustomPrompt="1"/>
          </p:nvPr>
        </p:nvSpPr>
        <p:spPr>
          <a:xfrm>
            <a:off x="358776" y="1220392"/>
            <a:ext cx="2700338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headli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587A00-45C5-427A-BDF7-9B55021A5AD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6" y="135000"/>
            <a:ext cx="8426450" cy="184666"/>
          </a:xfrm>
        </p:spPr>
        <p:txBody>
          <a:bodyPr lIns="0" tIns="0" rIns="0" bIns="0">
            <a:noAutofit/>
          </a:bodyPr>
          <a:lstStyle>
            <a:lvl1pPr marL="0" indent="0" algn="l" defTabSz="914378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de-DE" sz="1200" b="0" kern="1200" baseline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chapter</a:t>
            </a:r>
          </a:p>
        </p:txBody>
      </p:sp>
      <p:sp>
        <p:nvSpPr>
          <p:cNvPr id="14" name="Line 15"/>
          <p:cNvSpPr>
            <a:spLocks noChangeShapeType="1"/>
          </p:cNvSpPr>
          <p:nvPr userDrawn="1"/>
        </p:nvSpPr>
        <p:spPr bwMode="auto">
          <a:xfrm flipV="1">
            <a:off x="358775" y="4597004"/>
            <a:ext cx="8424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2400" dirty="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9" hasCustomPrompt="1"/>
          </p:nvPr>
        </p:nvSpPr>
        <p:spPr>
          <a:xfrm>
            <a:off x="3221038" y="1220392"/>
            <a:ext cx="2700338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16" name="Inhaltsplatzhalter 3"/>
          <p:cNvSpPr>
            <a:spLocks noGrp="1"/>
          </p:cNvSpPr>
          <p:nvPr>
            <p:ph sz="quarter" idx="20" hasCustomPrompt="1"/>
          </p:nvPr>
        </p:nvSpPr>
        <p:spPr>
          <a:xfrm>
            <a:off x="6082438" y="1220392"/>
            <a:ext cx="2700338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9071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9" hasCustomPrompt="1"/>
          </p:nvPr>
        </p:nvSpPr>
        <p:spPr>
          <a:xfrm>
            <a:off x="358779" y="1220392"/>
            <a:ext cx="1984375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headli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587A00-45C5-427A-BDF7-9B55021A5AD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6" y="135000"/>
            <a:ext cx="8426450" cy="184666"/>
          </a:xfrm>
        </p:spPr>
        <p:txBody>
          <a:bodyPr lIns="0" tIns="0" rIns="0" bIns="0">
            <a:noAutofit/>
          </a:bodyPr>
          <a:lstStyle>
            <a:lvl1pPr marL="0" indent="0" algn="l" defTabSz="914378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de-DE" sz="1200" b="0" kern="1200" baseline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chapter</a:t>
            </a:r>
          </a:p>
        </p:txBody>
      </p:sp>
      <p:sp>
        <p:nvSpPr>
          <p:cNvPr id="15" name="Line 15"/>
          <p:cNvSpPr>
            <a:spLocks noChangeShapeType="1"/>
          </p:cNvSpPr>
          <p:nvPr userDrawn="1"/>
        </p:nvSpPr>
        <p:spPr bwMode="auto">
          <a:xfrm flipV="1">
            <a:off x="358775" y="4597004"/>
            <a:ext cx="8424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2400" dirty="0"/>
          </a:p>
        </p:txBody>
      </p:sp>
      <p:sp>
        <p:nvSpPr>
          <p:cNvPr id="16" name="Inhaltsplatzhalter 3"/>
          <p:cNvSpPr>
            <a:spLocks noGrp="1"/>
          </p:cNvSpPr>
          <p:nvPr>
            <p:ph sz="quarter" idx="20" hasCustomPrompt="1"/>
          </p:nvPr>
        </p:nvSpPr>
        <p:spPr>
          <a:xfrm>
            <a:off x="2505323" y="1220392"/>
            <a:ext cx="1984375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17" name="Inhaltsplatzhalter 3"/>
          <p:cNvSpPr>
            <a:spLocks noGrp="1"/>
          </p:cNvSpPr>
          <p:nvPr>
            <p:ph sz="quarter" idx="21" hasCustomPrompt="1"/>
          </p:nvPr>
        </p:nvSpPr>
        <p:spPr>
          <a:xfrm>
            <a:off x="4651863" y="1220392"/>
            <a:ext cx="1984375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quarter" idx="22" hasCustomPrompt="1"/>
          </p:nvPr>
        </p:nvSpPr>
        <p:spPr>
          <a:xfrm>
            <a:off x="6798406" y="1220392"/>
            <a:ext cx="1984375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74690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/3 to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21" hasCustomPrompt="1"/>
          </p:nvPr>
        </p:nvSpPr>
        <p:spPr>
          <a:xfrm>
            <a:off x="3221040" y="1220791"/>
            <a:ext cx="5561012" cy="33099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9" hasCustomPrompt="1"/>
          </p:nvPr>
        </p:nvSpPr>
        <p:spPr>
          <a:xfrm>
            <a:off x="358777" y="1220392"/>
            <a:ext cx="2700338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headli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587A00-45C5-427A-BDF7-9B55021A5AD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6" y="135000"/>
            <a:ext cx="8426450" cy="184666"/>
          </a:xfrm>
        </p:spPr>
        <p:txBody>
          <a:bodyPr lIns="0" tIns="0" rIns="0" bIns="0">
            <a:noAutofit/>
          </a:bodyPr>
          <a:lstStyle>
            <a:lvl1pPr marL="0" indent="0" algn="l" defTabSz="914378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de-DE" sz="1200" b="0" kern="1200" baseline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chapter</a:t>
            </a:r>
          </a:p>
        </p:txBody>
      </p:sp>
      <p:sp>
        <p:nvSpPr>
          <p:cNvPr id="15" name="Line 15"/>
          <p:cNvSpPr>
            <a:spLocks noChangeShapeType="1"/>
          </p:cNvSpPr>
          <p:nvPr userDrawn="1"/>
        </p:nvSpPr>
        <p:spPr bwMode="auto">
          <a:xfrm flipV="1">
            <a:off x="358775" y="4597004"/>
            <a:ext cx="8424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2400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47798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ntent 2/3 to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3"/>
          <p:cNvSpPr>
            <a:spLocks noGrp="1"/>
          </p:cNvSpPr>
          <p:nvPr>
            <p:ph sz="quarter" idx="21" hasCustomPrompt="1"/>
          </p:nvPr>
        </p:nvSpPr>
        <p:spPr>
          <a:xfrm>
            <a:off x="6084889" y="1220392"/>
            <a:ext cx="2700338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9" hasCustomPrompt="1"/>
          </p:nvPr>
        </p:nvSpPr>
        <p:spPr>
          <a:xfrm>
            <a:off x="358778" y="1220392"/>
            <a:ext cx="5564187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headli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587A00-45C5-427A-BDF7-9B55021A5AD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6" y="135000"/>
            <a:ext cx="8426450" cy="184666"/>
          </a:xfrm>
        </p:spPr>
        <p:txBody>
          <a:bodyPr lIns="0" tIns="0" rIns="0" bIns="0">
            <a:noAutofit/>
          </a:bodyPr>
          <a:lstStyle>
            <a:lvl1pPr marL="0" indent="0" algn="l" defTabSz="914378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de-DE" sz="1200" b="0" kern="1200" baseline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chapter</a:t>
            </a:r>
          </a:p>
        </p:txBody>
      </p:sp>
      <p:sp>
        <p:nvSpPr>
          <p:cNvPr id="15" name="Line 15"/>
          <p:cNvSpPr>
            <a:spLocks noChangeShapeType="1"/>
          </p:cNvSpPr>
          <p:nvPr userDrawn="1"/>
        </p:nvSpPr>
        <p:spPr bwMode="auto">
          <a:xfrm flipV="1">
            <a:off x="358775" y="4597004"/>
            <a:ext cx="8424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2400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67040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and chapter only - full siz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VCT_Marker_ID_4" hidden="1"/>
          <p:cNvSpPr/>
          <p:nvPr userDrawn="1">
            <p:custDataLst>
              <p:tags r:id="rId3"/>
            </p:custDataLst>
          </p:nvPr>
        </p:nvSpPr>
        <p:spPr>
          <a:xfrm>
            <a:off x="1270001" y="127001"/>
            <a:ext cx="127000" cy="127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/>
          </a:p>
        </p:txBody>
      </p:sp>
      <p:sp>
        <p:nvSpPr>
          <p:cNvPr id="6" name="Line 15"/>
          <p:cNvSpPr>
            <a:spLocks noChangeShapeType="1"/>
          </p:cNvSpPr>
          <p:nvPr userDrawn="1"/>
        </p:nvSpPr>
        <p:spPr bwMode="auto">
          <a:xfrm flipV="1">
            <a:off x="358776" y="4597400"/>
            <a:ext cx="842327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 sz="2400" dirty="0"/>
          </a:p>
        </p:txBody>
      </p:sp>
      <p:pic>
        <p:nvPicPr>
          <p:cNvPr id="7" name="Grafik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1213" y="4621213"/>
            <a:ext cx="360362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35000"/>
            <a:ext cx="8424000" cy="184666"/>
          </a:xfrm>
        </p:spPr>
        <p:txBody>
          <a:bodyPr tIns="0" bIns="0">
            <a:noAutofit/>
          </a:bodyPr>
          <a:lstStyle>
            <a:lvl1pPr>
              <a:defRPr sz="12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chapter</a:t>
            </a:r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1D8CE9-C67E-425B-A3B0-F5CBCB7FB14C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374871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1 pre-fill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Q:\Fotos\EOS Bilderpool\neu_Brandpool\Fotolia_20-02-2015\Fotolia_68356367_X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 flipH="1">
            <a:off x="0" y="6"/>
            <a:ext cx="9144000" cy="3323640"/>
          </a:xfrm>
          <a:prstGeom prst="rect">
            <a:avLst/>
          </a:prstGeom>
          <a:noFill/>
        </p:spPr>
      </p:pic>
      <p:sp>
        <p:nvSpPr>
          <p:cNvPr id="13" name="Rechteck 3"/>
          <p:cNvSpPr/>
          <p:nvPr userDrawn="1"/>
        </p:nvSpPr>
        <p:spPr>
          <a:xfrm>
            <a:off x="-4763" y="1940286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5" name="Rechteck 24"/>
          <p:cNvSpPr/>
          <p:nvPr userDrawn="1"/>
        </p:nvSpPr>
        <p:spPr>
          <a:xfrm>
            <a:off x="358413" y="4982732"/>
            <a:ext cx="8426814" cy="128685"/>
          </a:xfrm>
          <a:prstGeom prst="rect">
            <a:avLst/>
          </a:prstGeom>
        </p:spPr>
        <p:txBody>
          <a:bodyPr wrap="square" lIns="0" tIns="36000" rIns="0" bIns="0">
            <a:spAutoFit/>
          </a:bodyPr>
          <a:lstStyle/>
          <a:p>
            <a:r>
              <a:rPr lang="en-US" sz="600" noProof="0" dirty="0">
                <a:solidFill>
                  <a:schemeClr val="accent2"/>
                </a:solidFill>
              </a:rPr>
              <a:t>Copy text, pictures, graphics, sounds,</a:t>
            </a:r>
            <a:r>
              <a:rPr lang="en-US" sz="600" baseline="0" noProof="0" dirty="0">
                <a:solidFill>
                  <a:schemeClr val="accent2"/>
                </a:solidFill>
              </a:rPr>
              <a:t> animations and videos  as well as the order of them within this presentation are subject to  copyright and other protective laws. </a:t>
            </a:r>
            <a:endParaRPr lang="en-US" sz="600" noProof="0" dirty="0">
              <a:solidFill>
                <a:schemeClr val="accent2"/>
              </a:solidFill>
            </a:endParaRPr>
          </a:p>
        </p:txBody>
      </p:sp>
      <p:sp>
        <p:nvSpPr>
          <p:cNvPr id="26" name="Textfeld 25"/>
          <p:cNvSpPr txBox="1"/>
          <p:nvPr userDrawn="1"/>
        </p:nvSpPr>
        <p:spPr>
          <a:xfrm>
            <a:off x="360001" y="4083717"/>
            <a:ext cx="2159001" cy="8207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150"/>
              </a:spcAft>
            </a:pPr>
            <a:r>
              <a:rPr lang="de-DE" sz="1000" noProof="0" dirty="0">
                <a:solidFill>
                  <a:schemeClr val="bg2"/>
                </a:solidFill>
              </a:rPr>
              <a:t>EOS Holding GmbH</a:t>
            </a:r>
            <a:br>
              <a:rPr lang="de-DE" sz="1000" noProof="0" dirty="0">
                <a:solidFill>
                  <a:schemeClr val="tx2"/>
                </a:solidFill>
              </a:rPr>
            </a:br>
            <a:r>
              <a:rPr lang="de-DE" sz="1000" noProof="0" dirty="0">
                <a:solidFill>
                  <a:schemeClr val="tx1"/>
                </a:solidFill>
              </a:rPr>
              <a:t>Steindamm 71 · 20099 Hamburg</a:t>
            </a:r>
          </a:p>
          <a:p>
            <a:pPr>
              <a:lnSpc>
                <a:spcPct val="100000"/>
              </a:lnSpc>
              <a:spcAft>
                <a:spcPts val="150"/>
              </a:spcAft>
            </a:pPr>
            <a:r>
              <a:rPr lang="de-DE" sz="1000" noProof="0" dirty="0">
                <a:solidFill>
                  <a:schemeClr val="tx1"/>
                </a:solidFill>
              </a:rPr>
              <a:t>Phone +49 (0)40 25 32 86 57</a:t>
            </a:r>
            <a:br>
              <a:rPr lang="de-DE" sz="1000" noProof="0" dirty="0">
                <a:solidFill>
                  <a:schemeClr val="tx1"/>
                </a:solidFill>
              </a:rPr>
            </a:br>
            <a:r>
              <a:rPr lang="de-DE" sz="1000" noProof="0" dirty="0">
                <a:solidFill>
                  <a:schemeClr val="tx1"/>
                </a:solidFill>
              </a:rPr>
              <a:t>Fax +49 (0)40 25 32 86 58</a:t>
            </a:r>
          </a:p>
          <a:p>
            <a:pPr>
              <a:lnSpc>
                <a:spcPct val="100000"/>
              </a:lnSpc>
              <a:spcAft>
                <a:spcPts val="150"/>
              </a:spcAft>
            </a:pPr>
            <a:r>
              <a:rPr lang="de-DE" sz="1000" noProof="0" dirty="0">
                <a:solidFill>
                  <a:schemeClr val="tx1"/>
                </a:solidFill>
              </a:rPr>
              <a:t>www.eos-solutions.com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583" y="4332429"/>
            <a:ext cx="550800" cy="550800"/>
          </a:xfrm>
          <a:prstGeom prst="rect">
            <a:avLst/>
          </a:prstGeom>
        </p:spPr>
      </p:pic>
      <p:sp>
        <p:nvSpPr>
          <p:cNvPr id="24" name="Textfeld 23"/>
          <p:cNvSpPr txBox="1"/>
          <p:nvPr userDrawn="1"/>
        </p:nvSpPr>
        <p:spPr>
          <a:xfrm>
            <a:off x="334059" y="3428254"/>
            <a:ext cx="8457652" cy="43088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ct val="0"/>
              </a:spcBef>
              <a:spcAft>
                <a:spcPts val="1200"/>
              </a:spcAft>
              <a:buNone/>
              <a:defRPr sz="3600" baseline="0">
                <a:solidFill>
                  <a:schemeClr val="bg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z="2800" noProof="0" dirty="0">
                <a:solidFill>
                  <a:schemeClr val="tx2"/>
                </a:solidFill>
              </a:rPr>
              <a:t>EOS. With head and heart in finance</a:t>
            </a:r>
          </a:p>
        </p:txBody>
      </p:sp>
    </p:spTree>
    <p:extLst>
      <p:ext uri="{BB962C8B-B14F-4D97-AF65-F5344CB8AC3E}">
        <p14:creationId xmlns:p14="http://schemas.microsoft.com/office/powerpoint/2010/main" val="57368286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2" descr="Q:\Fotos\EOS Bilderpool\neu_Brandpool\Fotolia_20-02-2015\Fotolia_68356367_X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 flipH="1">
            <a:off x="0" y="6"/>
            <a:ext cx="9144000" cy="3323640"/>
          </a:xfrm>
          <a:prstGeom prst="rect">
            <a:avLst/>
          </a:prstGeom>
          <a:noFill/>
        </p:spPr>
      </p:pic>
      <p:sp>
        <p:nvSpPr>
          <p:cNvPr id="20" name="Rechteck 3"/>
          <p:cNvSpPr/>
          <p:nvPr userDrawn="1"/>
        </p:nvSpPr>
        <p:spPr>
          <a:xfrm>
            <a:off x="-4763" y="1940286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1" name="Rechteck 20"/>
          <p:cNvSpPr/>
          <p:nvPr userDrawn="1"/>
        </p:nvSpPr>
        <p:spPr>
          <a:xfrm>
            <a:off x="358413" y="4982732"/>
            <a:ext cx="8426814" cy="128685"/>
          </a:xfrm>
          <a:prstGeom prst="rect">
            <a:avLst/>
          </a:prstGeom>
        </p:spPr>
        <p:txBody>
          <a:bodyPr wrap="square" lIns="0" tIns="36000" rIns="0" bIns="0">
            <a:spAutoFit/>
          </a:bodyPr>
          <a:lstStyle/>
          <a:p>
            <a:r>
              <a:rPr lang="en-US" sz="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py text, pictures, graphics, sounds, animations and videos  as well as the order of them within this presentation are subject to  copyright and other protective laws. </a:t>
            </a:r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4438507"/>
            <a:ext cx="2397490" cy="276560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adress</a:t>
            </a:r>
            <a:endParaRPr lang="de-DE" dirty="0"/>
          </a:p>
        </p:txBody>
      </p:sp>
      <p:sp>
        <p:nvSpPr>
          <p:cNvPr id="25" name="Textplatzhalt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360001" y="4239341"/>
            <a:ext cx="2397488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company</a:t>
            </a:r>
            <a:r>
              <a:rPr lang="de-DE" dirty="0"/>
              <a:t> </a:t>
            </a:r>
            <a:r>
              <a:rPr lang="de-DE" dirty="0" err="1"/>
              <a:t>name</a:t>
            </a:r>
            <a:endParaRPr lang="de-DE" dirty="0"/>
          </a:p>
        </p:txBody>
      </p:sp>
      <p:sp>
        <p:nvSpPr>
          <p:cNvPr id="26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2854328" y="4239341"/>
            <a:ext cx="2610055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name</a:t>
            </a:r>
            <a:r>
              <a:rPr lang="de-DE" dirty="0"/>
              <a:t>/ </a:t>
            </a:r>
            <a:r>
              <a:rPr lang="de-DE" dirty="0" err="1"/>
              <a:t>function</a:t>
            </a:r>
            <a:endParaRPr lang="de-DE" dirty="0"/>
          </a:p>
        </p:txBody>
      </p:sp>
      <p:sp>
        <p:nvSpPr>
          <p:cNvPr id="27" name="Textplatzhalt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3361100" y="4438508"/>
            <a:ext cx="2103282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hone</a:t>
            </a:r>
            <a:r>
              <a:rPr lang="de-DE" dirty="0"/>
              <a:t> </a:t>
            </a:r>
            <a:r>
              <a:rPr lang="de-DE" dirty="0" err="1"/>
              <a:t>number</a:t>
            </a:r>
            <a:endParaRPr lang="de-DE" dirty="0"/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3361100" y="4591956"/>
            <a:ext cx="2103282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fax </a:t>
            </a:r>
            <a:r>
              <a:rPr lang="de-DE" dirty="0" err="1"/>
              <a:t>number</a:t>
            </a:r>
            <a:endParaRPr lang="de-DE" dirty="0"/>
          </a:p>
        </p:txBody>
      </p:sp>
      <p:sp>
        <p:nvSpPr>
          <p:cNvPr id="29" name="Textplatzhalt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2854328" y="4745406"/>
            <a:ext cx="2610053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email</a:t>
            </a:r>
          </a:p>
        </p:txBody>
      </p:sp>
      <p:sp>
        <p:nvSpPr>
          <p:cNvPr id="30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360000" y="4745406"/>
            <a:ext cx="2397490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website</a:t>
            </a:r>
            <a:endParaRPr lang="de-DE" dirty="0"/>
          </a:p>
        </p:txBody>
      </p:sp>
      <p:sp>
        <p:nvSpPr>
          <p:cNvPr id="31" name="Textfeld 30"/>
          <p:cNvSpPr txBox="1"/>
          <p:nvPr userDrawn="1"/>
        </p:nvSpPr>
        <p:spPr>
          <a:xfrm>
            <a:off x="2854325" y="4439786"/>
            <a:ext cx="36708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/>
              <a:t>Phone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2854325" y="4591955"/>
            <a:ext cx="21320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/>
              <a:t>Fax</a:t>
            </a:r>
          </a:p>
        </p:txBody>
      </p: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583" y="4332429"/>
            <a:ext cx="550800" cy="550800"/>
          </a:xfrm>
          <a:prstGeom prst="rect">
            <a:avLst/>
          </a:prstGeom>
        </p:spPr>
      </p:pic>
      <p:sp>
        <p:nvSpPr>
          <p:cNvPr id="19" name="Titel 1"/>
          <p:cNvSpPr>
            <a:spLocks noGrp="1"/>
          </p:cNvSpPr>
          <p:nvPr>
            <p:ph type="ctrTitle" hasCustomPrompt="1"/>
          </p:nvPr>
        </p:nvSpPr>
        <p:spPr>
          <a:xfrm>
            <a:off x="334061" y="3427202"/>
            <a:ext cx="8462322" cy="430887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spcAft>
                <a:spcPts val="1200"/>
              </a:spcAft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head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095021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0" y="0"/>
            <a:ext cx="9144000" cy="32197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18" name="Rechteck 3"/>
          <p:cNvSpPr/>
          <p:nvPr userDrawn="1"/>
        </p:nvSpPr>
        <p:spPr>
          <a:xfrm>
            <a:off x="-4763" y="1940286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1" name="Rechteck 20"/>
          <p:cNvSpPr/>
          <p:nvPr userDrawn="1"/>
        </p:nvSpPr>
        <p:spPr>
          <a:xfrm>
            <a:off x="358413" y="4982732"/>
            <a:ext cx="8426814" cy="128685"/>
          </a:xfrm>
          <a:prstGeom prst="rect">
            <a:avLst/>
          </a:prstGeom>
        </p:spPr>
        <p:txBody>
          <a:bodyPr wrap="square" lIns="0" tIns="36000" rIns="0" bIns="0">
            <a:spAutoFit/>
          </a:bodyPr>
          <a:lstStyle/>
          <a:p>
            <a:r>
              <a:rPr lang="en-US" sz="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py text, pictures, graphics, sounds, animations and videos  as well as the order of them within this presentation are subject to  copyright and other protective laws. </a:t>
            </a:r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4438507"/>
            <a:ext cx="2397490" cy="276560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adress</a:t>
            </a:r>
            <a:endParaRPr lang="de-DE" dirty="0"/>
          </a:p>
        </p:txBody>
      </p:sp>
      <p:sp>
        <p:nvSpPr>
          <p:cNvPr id="25" name="Textplatzhalt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360001" y="4239341"/>
            <a:ext cx="2397488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company</a:t>
            </a:r>
            <a:r>
              <a:rPr lang="de-DE" dirty="0"/>
              <a:t> </a:t>
            </a:r>
            <a:r>
              <a:rPr lang="de-DE" dirty="0" err="1"/>
              <a:t>name</a:t>
            </a:r>
            <a:endParaRPr lang="de-DE" dirty="0"/>
          </a:p>
        </p:txBody>
      </p:sp>
      <p:sp>
        <p:nvSpPr>
          <p:cNvPr id="26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2854328" y="4239341"/>
            <a:ext cx="2610055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name</a:t>
            </a:r>
            <a:r>
              <a:rPr lang="de-DE" dirty="0"/>
              <a:t>/ </a:t>
            </a:r>
            <a:r>
              <a:rPr lang="de-DE" dirty="0" err="1"/>
              <a:t>function</a:t>
            </a:r>
            <a:endParaRPr lang="de-DE" dirty="0"/>
          </a:p>
        </p:txBody>
      </p:sp>
      <p:sp>
        <p:nvSpPr>
          <p:cNvPr id="27" name="Textplatzhalt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3361100" y="4438508"/>
            <a:ext cx="2103282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hone</a:t>
            </a:r>
            <a:r>
              <a:rPr lang="de-DE" dirty="0"/>
              <a:t> </a:t>
            </a:r>
            <a:r>
              <a:rPr lang="de-DE" dirty="0" err="1"/>
              <a:t>number</a:t>
            </a:r>
            <a:endParaRPr lang="de-DE" dirty="0"/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3361100" y="4591956"/>
            <a:ext cx="2103282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fax </a:t>
            </a:r>
            <a:r>
              <a:rPr lang="de-DE" dirty="0" err="1"/>
              <a:t>number</a:t>
            </a:r>
            <a:endParaRPr lang="de-DE" dirty="0"/>
          </a:p>
        </p:txBody>
      </p:sp>
      <p:sp>
        <p:nvSpPr>
          <p:cNvPr id="29" name="Textplatzhalt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2854328" y="4745406"/>
            <a:ext cx="2610053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email</a:t>
            </a:r>
          </a:p>
        </p:txBody>
      </p:sp>
      <p:sp>
        <p:nvSpPr>
          <p:cNvPr id="30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360000" y="4745406"/>
            <a:ext cx="2397490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website</a:t>
            </a:r>
            <a:endParaRPr lang="de-DE" dirty="0"/>
          </a:p>
        </p:txBody>
      </p:sp>
      <p:sp>
        <p:nvSpPr>
          <p:cNvPr id="31" name="Textfeld 30"/>
          <p:cNvSpPr txBox="1"/>
          <p:nvPr userDrawn="1"/>
        </p:nvSpPr>
        <p:spPr>
          <a:xfrm>
            <a:off x="2854325" y="4439786"/>
            <a:ext cx="36708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/>
              <a:t>Phone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2854325" y="4591955"/>
            <a:ext cx="21320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/>
              <a:t>Fax</a:t>
            </a:r>
          </a:p>
        </p:txBody>
      </p: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583" y="4332429"/>
            <a:ext cx="550800" cy="550800"/>
          </a:xfrm>
          <a:prstGeom prst="rect">
            <a:avLst/>
          </a:prstGeom>
        </p:spPr>
      </p:pic>
      <p:sp>
        <p:nvSpPr>
          <p:cNvPr id="19" name="Titel 1"/>
          <p:cNvSpPr>
            <a:spLocks noGrp="1"/>
          </p:cNvSpPr>
          <p:nvPr>
            <p:ph type="ctrTitle" hasCustomPrompt="1"/>
          </p:nvPr>
        </p:nvSpPr>
        <p:spPr>
          <a:xfrm>
            <a:off x="334061" y="3427202"/>
            <a:ext cx="8462322" cy="430887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spcAft>
                <a:spcPts val="1200"/>
              </a:spcAft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head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193759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 siz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VCT_Marker_ID_4" hidden="1"/>
          <p:cNvSpPr/>
          <p:nvPr userDrawn="1">
            <p:custDataLst>
              <p:tags r:id="rId3"/>
            </p:custDataLst>
          </p:nvPr>
        </p:nvSpPr>
        <p:spPr>
          <a:xfrm>
            <a:off x="1270001" y="127001"/>
            <a:ext cx="127000" cy="127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C42C23-FD24-4A03-8A6F-B84EC4ECC424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732226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splatzhalter 17"/>
          <p:cNvSpPr>
            <a:spLocks noGrp="1"/>
          </p:cNvSpPr>
          <p:nvPr>
            <p:ph sz="quarter" idx="15" hasCustomPrompt="1"/>
          </p:nvPr>
        </p:nvSpPr>
        <p:spPr>
          <a:xfrm>
            <a:off x="358780" y="1220392"/>
            <a:ext cx="8423275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headli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587A00-45C5-427A-BDF7-9B55021A5AD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Line 15"/>
          <p:cNvSpPr>
            <a:spLocks noChangeShapeType="1"/>
          </p:cNvSpPr>
          <p:nvPr userDrawn="1"/>
        </p:nvSpPr>
        <p:spPr bwMode="auto">
          <a:xfrm flipV="1">
            <a:off x="358775" y="4597004"/>
            <a:ext cx="8424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240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35000"/>
            <a:ext cx="8424000" cy="184666"/>
          </a:xfrm>
        </p:spPr>
        <p:txBody>
          <a:bodyPr lIns="0" tIns="0" rIns="0" bIns="0">
            <a:noAutofit/>
          </a:bodyPr>
          <a:lstStyle>
            <a:lvl1pPr>
              <a:defRPr sz="12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add chapter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55271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4"/>
          <p:cNvSpPr>
            <a:spLocks noGrp="1"/>
          </p:cNvSpPr>
          <p:nvPr>
            <p:ph sz="quarter" idx="16" hasCustomPrompt="1"/>
          </p:nvPr>
        </p:nvSpPr>
        <p:spPr>
          <a:xfrm>
            <a:off x="358778" y="1220392"/>
            <a:ext cx="4130676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17" name="Inhaltsplatzhalter 16"/>
          <p:cNvSpPr>
            <a:spLocks noGrp="1"/>
          </p:cNvSpPr>
          <p:nvPr>
            <p:ph sz="quarter" idx="17" hasCustomPrompt="1"/>
          </p:nvPr>
        </p:nvSpPr>
        <p:spPr>
          <a:xfrm>
            <a:off x="4656143" y="1220392"/>
            <a:ext cx="4126636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headli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587A00-45C5-427A-BDF7-9B55021A5AD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6" y="135000"/>
            <a:ext cx="8426450" cy="184666"/>
          </a:xfrm>
        </p:spPr>
        <p:txBody>
          <a:bodyPr lIns="0" tIns="0" rIns="0" bIns="0">
            <a:noAutofit/>
          </a:bodyPr>
          <a:lstStyle>
            <a:lvl1pPr marL="0" indent="0" algn="l" defTabSz="914378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de-DE" sz="1200" b="0" kern="1200" baseline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chapter</a:t>
            </a:r>
          </a:p>
        </p:txBody>
      </p:sp>
      <p:sp>
        <p:nvSpPr>
          <p:cNvPr id="13" name="Line 15"/>
          <p:cNvSpPr>
            <a:spLocks noChangeShapeType="1"/>
          </p:cNvSpPr>
          <p:nvPr userDrawn="1"/>
        </p:nvSpPr>
        <p:spPr bwMode="auto">
          <a:xfrm flipV="1">
            <a:off x="358775" y="4597004"/>
            <a:ext cx="8424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240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51338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8" hasCustomPrompt="1"/>
          </p:nvPr>
        </p:nvSpPr>
        <p:spPr>
          <a:xfrm>
            <a:off x="358776" y="1220392"/>
            <a:ext cx="2700338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headli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587A00-45C5-427A-BDF7-9B55021A5AD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6" y="135000"/>
            <a:ext cx="8426450" cy="184666"/>
          </a:xfrm>
        </p:spPr>
        <p:txBody>
          <a:bodyPr lIns="0" tIns="0" rIns="0" bIns="0">
            <a:noAutofit/>
          </a:bodyPr>
          <a:lstStyle>
            <a:lvl1pPr marL="0" indent="0" algn="l" defTabSz="914378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de-DE" sz="1200" b="0" kern="1200" baseline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chapter</a:t>
            </a:r>
          </a:p>
        </p:txBody>
      </p:sp>
      <p:sp>
        <p:nvSpPr>
          <p:cNvPr id="14" name="Line 15"/>
          <p:cNvSpPr>
            <a:spLocks noChangeShapeType="1"/>
          </p:cNvSpPr>
          <p:nvPr userDrawn="1"/>
        </p:nvSpPr>
        <p:spPr bwMode="auto">
          <a:xfrm flipV="1">
            <a:off x="358775" y="4597004"/>
            <a:ext cx="8424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240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9" hasCustomPrompt="1"/>
          </p:nvPr>
        </p:nvSpPr>
        <p:spPr>
          <a:xfrm>
            <a:off x="3221038" y="1220392"/>
            <a:ext cx="2700338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16" name="Inhaltsplatzhalter 3"/>
          <p:cNvSpPr>
            <a:spLocks noGrp="1"/>
          </p:cNvSpPr>
          <p:nvPr>
            <p:ph sz="quarter" idx="20" hasCustomPrompt="1"/>
          </p:nvPr>
        </p:nvSpPr>
        <p:spPr>
          <a:xfrm>
            <a:off x="6082438" y="1220392"/>
            <a:ext cx="2700338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5304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9" hasCustomPrompt="1"/>
          </p:nvPr>
        </p:nvSpPr>
        <p:spPr>
          <a:xfrm>
            <a:off x="358779" y="1220392"/>
            <a:ext cx="1984375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headli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587A00-45C5-427A-BDF7-9B55021A5AD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6" y="135000"/>
            <a:ext cx="8426450" cy="184666"/>
          </a:xfrm>
        </p:spPr>
        <p:txBody>
          <a:bodyPr lIns="0" tIns="0" rIns="0" bIns="0">
            <a:noAutofit/>
          </a:bodyPr>
          <a:lstStyle>
            <a:lvl1pPr marL="0" indent="0" algn="l" defTabSz="914378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de-DE" sz="1200" b="0" kern="1200" baseline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chapter</a:t>
            </a:r>
          </a:p>
        </p:txBody>
      </p:sp>
      <p:sp>
        <p:nvSpPr>
          <p:cNvPr id="15" name="Line 15"/>
          <p:cNvSpPr>
            <a:spLocks noChangeShapeType="1"/>
          </p:cNvSpPr>
          <p:nvPr userDrawn="1"/>
        </p:nvSpPr>
        <p:spPr bwMode="auto">
          <a:xfrm flipV="1">
            <a:off x="358775" y="4597004"/>
            <a:ext cx="8424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2400"/>
          </a:p>
        </p:txBody>
      </p:sp>
      <p:sp>
        <p:nvSpPr>
          <p:cNvPr id="16" name="Inhaltsplatzhalter 3"/>
          <p:cNvSpPr>
            <a:spLocks noGrp="1"/>
          </p:cNvSpPr>
          <p:nvPr>
            <p:ph sz="quarter" idx="20" hasCustomPrompt="1"/>
          </p:nvPr>
        </p:nvSpPr>
        <p:spPr>
          <a:xfrm>
            <a:off x="2505323" y="1220392"/>
            <a:ext cx="1984375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17" name="Inhaltsplatzhalter 3"/>
          <p:cNvSpPr>
            <a:spLocks noGrp="1"/>
          </p:cNvSpPr>
          <p:nvPr>
            <p:ph sz="quarter" idx="21" hasCustomPrompt="1"/>
          </p:nvPr>
        </p:nvSpPr>
        <p:spPr>
          <a:xfrm>
            <a:off x="4651863" y="1220392"/>
            <a:ext cx="1984375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quarter" idx="22" hasCustomPrompt="1"/>
          </p:nvPr>
        </p:nvSpPr>
        <p:spPr>
          <a:xfrm>
            <a:off x="6798406" y="1220392"/>
            <a:ext cx="1984375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9929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/3 to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21" hasCustomPrompt="1"/>
          </p:nvPr>
        </p:nvSpPr>
        <p:spPr>
          <a:xfrm>
            <a:off x="3221040" y="1220791"/>
            <a:ext cx="5561012" cy="33099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9" hasCustomPrompt="1"/>
          </p:nvPr>
        </p:nvSpPr>
        <p:spPr>
          <a:xfrm>
            <a:off x="358777" y="1220392"/>
            <a:ext cx="2700338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headli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587A00-45C5-427A-BDF7-9B55021A5AD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6" y="135000"/>
            <a:ext cx="8426450" cy="184666"/>
          </a:xfrm>
        </p:spPr>
        <p:txBody>
          <a:bodyPr lIns="0" tIns="0" rIns="0" bIns="0">
            <a:noAutofit/>
          </a:bodyPr>
          <a:lstStyle>
            <a:lvl1pPr marL="0" indent="0" algn="l" defTabSz="914378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de-DE" sz="1200" b="0" kern="1200" baseline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chapter</a:t>
            </a:r>
          </a:p>
        </p:txBody>
      </p:sp>
      <p:sp>
        <p:nvSpPr>
          <p:cNvPr id="15" name="Line 15"/>
          <p:cNvSpPr>
            <a:spLocks noChangeShapeType="1"/>
          </p:cNvSpPr>
          <p:nvPr userDrawn="1"/>
        </p:nvSpPr>
        <p:spPr bwMode="auto">
          <a:xfrm flipV="1">
            <a:off x="358775" y="4597004"/>
            <a:ext cx="8424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240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9929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 /><Relationship Id="rId13" Type="http://schemas.openxmlformats.org/officeDocument/2006/relationships/slideLayout" Target="../slideLayouts/slideLayout13.xml" /><Relationship Id="rId18" Type="http://schemas.openxmlformats.org/officeDocument/2006/relationships/theme" Target="../theme/theme1.xml" /><Relationship Id="rId3" Type="http://schemas.openxmlformats.org/officeDocument/2006/relationships/slideLayout" Target="../slideLayouts/slideLayout3.xml" /><Relationship Id="rId21" Type="http://schemas.openxmlformats.org/officeDocument/2006/relationships/tags" Target="../tags/tag3.xml" /><Relationship Id="rId7" Type="http://schemas.openxmlformats.org/officeDocument/2006/relationships/slideLayout" Target="../slideLayouts/slideLayout7.xml" /><Relationship Id="rId12" Type="http://schemas.openxmlformats.org/officeDocument/2006/relationships/slideLayout" Target="../slideLayouts/slideLayout12.xml" /><Relationship Id="rId17" Type="http://schemas.openxmlformats.org/officeDocument/2006/relationships/slideLayout" Target="../slideLayouts/slideLayout17.xml" /><Relationship Id="rId2" Type="http://schemas.openxmlformats.org/officeDocument/2006/relationships/slideLayout" Target="../slideLayouts/slideLayout2.xml" /><Relationship Id="rId16" Type="http://schemas.openxmlformats.org/officeDocument/2006/relationships/slideLayout" Target="../slideLayouts/slideLayout16.xml" /><Relationship Id="rId20" Type="http://schemas.openxmlformats.org/officeDocument/2006/relationships/tags" Target="../tags/tag2.xml" /><Relationship Id="rId1" Type="http://schemas.openxmlformats.org/officeDocument/2006/relationships/slideLayout" Target="../slideLayouts/slideLayout1.xml" /><Relationship Id="rId6" Type="http://schemas.openxmlformats.org/officeDocument/2006/relationships/slideLayout" Target="../slideLayouts/slideLayout6.xml" /><Relationship Id="rId11" Type="http://schemas.openxmlformats.org/officeDocument/2006/relationships/slideLayout" Target="../slideLayouts/slideLayout11.xml" /><Relationship Id="rId24" Type="http://schemas.openxmlformats.org/officeDocument/2006/relationships/image" Target="../media/image1.emf" /><Relationship Id="rId5" Type="http://schemas.openxmlformats.org/officeDocument/2006/relationships/slideLayout" Target="../slideLayouts/slideLayout5.xml" /><Relationship Id="rId15" Type="http://schemas.openxmlformats.org/officeDocument/2006/relationships/slideLayout" Target="../slideLayouts/slideLayout15.xml" /><Relationship Id="rId23" Type="http://schemas.openxmlformats.org/officeDocument/2006/relationships/oleObject" Target="../embeddings/oleObject1.bin" /><Relationship Id="rId10" Type="http://schemas.openxmlformats.org/officeDocument/2006/relationships/slideLayout" Target="../slideLayouts/slideLayout10.xml" /><Relationship Id="rId19" Type="http://schemas.openxmlformats.org/officeDocument/2006/relationships/vmlDrawing" Target="../drawings/vmlDrawing1.vml" /><Relationship Id="rId4" Type="http://schemas.openxmlformats.org/officeDocument/2006/relationships/slideLayout" Target="../slideLayouts/slideLayout4.xml" /><Relationship Id="rId9" Type="http://schemas.openxmlformats.org/officeDocument/2006/relationships/slideLayout" Target="../slideLayouts/slideLayout9.xml" /><Relationship Id="rId14" Type="http://schemas.openxmlformats.org/officeDocument/2006/relationships/slideLayout" Target="../slideLayouts/slideLayout14.xml" /><Relationship Id="rId22" Type="http://schemas.openxmlformats.org/officeDocument/2006/relationships/tags" Target="../tags/tag4.xml" 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 /><Relationship Id="rId13" Type="http://schemas.openxmlformats.org/officeDocument/2006/relationships/slideLayout" Target="../slideLayouts/slideLayout30.xml" /><Relationship Id="rId18" Type="http://schemas.openxmlformats.org/officeDocument/2006/relationships/slideLayout" Target="../slideLayouts/slideLayout35.xml" /><Relationship Id="rId26" Type="http://schemas.openxmlformats.org/officeDocument/2006/relationships/slideLayout" Target="../slideLayouts/slideLayout43.xml" /><Relationship Id="rId3" Type="http://schemas.openxmlformats.org/officeDocument/2006/relationships/slideLayout" Target="../slideLayouts/slideLayout20.xml" /><Relationship Id="rId21" Type="http://schemas.openxmlformats.org/officeDocument/2006/relationships/slideLayout" Target="../slideLayouts/slideLayout38.xml" /><Relationship Id="rId34" Type="http://schemas.openxmlformats.org/officeDocument/2006/relationships/tags" Target="../tags/tag19.xml" /><Relationship Id="rId7" Type="http://schemas.openxmlformats.org/officeDocument/2006/relationships/slideLayout" Target="../slideLayouts/slideLayout24.xml" /><Relationship Id="rId12" Type="http://schemas.openxmlformats.org/officeDocument/2006/relationships/slideLayout" Target="../slideLayouts/slideLayout29.xml" /><Relationship Id="rId17" Type="http://schemas.openxmlformats.org/officeDocument/2006/relationships/slideLayout" Target="../slideLayouts/slideLayout34.xml" /><Relationship Id="rId25" Type="http://schemas.openxmlformats.org/officeDocument/2006/relationships/slideLayout" Target="../slideLayouts/slideLayout42.xml" /><Relationship Id="rId33" Type="http://schemas.openxmlformats.org/officeDocument/2006/relationships/vmlDrawing" Target="../drawings/vmlDrawing5.vml" /><Relationship Id="rId38" Type="http://schemas.openxmlformats.org/officeDocument/2006/relationships/image" Target="../media/image1.emf" /><Relationship Id="rId2" Type="http://schemas.openxmlformats.org/officeDocument/2006/relationships/slideLayout" Target="../slideLayouts/slideLayout19.xml" /><Relationship Id="rId16" Type="http://schemas.openxmlformats.org/officeDocument/2006/relationships/slideLayout" Target="../slideLayouts/slideLayout33.xml" /><Relationship Id="rId20" Type="http://schemas.openxmlformats.org/officeDocument/2006/relationships/slideLayout" Target="../slideLayouts/slideLayout37.xml" /><Relationship Id="rId29" Type="http://schemas.openxmlformats.org/officeDocument/2006/relationships/slideLayout" Target="../slideLayouts/slideLayout46.xml" /><Relationship Id="rId1" Type="http://schemas.openxmlformats.org/officeDocument/2006/relationships/slideLayout" Target="../slideLayouts/slideLayout18.xml" /><Relationship Id="rId6" Type="http://schemas.openxmlformats.org/officeDocument/2006/relationships/slideLayout" Target="../slideLayouts/slideLayout23.xml" /><Relationship Id="rId11" Type="http://schemas.openxmlformats.org/officeDocument/2006/relationships/slideLayout" Target="../slideLayouts/slideLayout28.xml" /><Relationship Id="rId24" Type="http://schemas.openxmlformats.org/officeDocument/2006/relationships/slideLayout" Target="../slideLayouts/slideLayout41.xml" /><Relationship Id="rId32" Type="http://schemas.openxmlformats.org/officeDocument/2006/relationships/theme" Target="../theme/theme2.xml" /><Relationship Id="rId37" Type="http://schemas.openxmlformats.org/officeDocument/2006/relationships/oleObject" Target="../embeddings/oleObject5.bin" /><Relationship Id="rId5" Type="http://schemas.openxmlformats.org/officeDocument/2006/relationships/slideLayout" Target="../slideLayouts/slideLayout22.xml" /><Relationship Id="rId15" Type="http://schemas.openxmlformats.org/officeDocument/2006/relationships/slideLayout" Target="../slideLayouts/slideLayout32.xml" /><Relationship Id="rId23" Type="http://schemas.openxmlformats.org/officeDocument/2006/relationships/slideLayout" Target="../slideLayouts/slideLayout40.xml" /><Relationship Id="rId28" Type="http://schemas.openxmlformats.org/officeDocument/2006/relationships/slideLayout" Target="../slideLayouts/slideLayout45.xml" /><Relationship Id="rId36" Type="http://schemas.openxmlformats.org/officeDocument/2006/relationships/tags" Target="../tags/tag21.xml" /><Relationship Id="rId10" Type="http://schemas.openxmlformats.org/officeDocument/2006/relationships/slideLayout" Target="../slideLayouts/slideLayout27.xml" /><Relationship Id="rId19" Type="http://schemas.openxmlformats.org/officeDocument/2006/relationships/slideLayout" Target="../slideLayouts/slideLayout36.xml" /><Relationship Id="rId31" Type="http://schemas.openxmlformats.org/officeDocument/2006/relationships/slideLayout" Target="../slideLayouts/slideLayout48.xml" /><Relationship Id="rId4" Type="http://schemas.openxmlformats.org/officeDocument/2006/relationships/slideLayout" Target="../slideLayouts/slideLayout21.xml" /><Relationship Id="rId9" Type="http://schemas.openxmlformats.org/officeDocument/2006/relationships/slideLayout" Target="../slideLayouts/slideLayout26.xml" /><Relationship Id="rId14" Type="http://schemas.openxmlformats.org/officeDocument/2006/relationships/slideLayout" Target="../slideLayouts/slideLayout31.xml" /><Relationship Id="rId22" Type="http://schemas.openxmlformats.org/officeDocument/2006/relationships/slideLayout" Target="../slideLayouts/slideLayout39.xml" /><Relationship Id="rId27" Type="http://schemas.openxmlformats.org/officeDocument/2006/relationships/slideLayout" Target="../slideLayouts/slideLayout44.xml" /><Relationship Id="rId30" Type="http://schemas.openxmlformats.org/officeDocument/2006/relationships/slideLayout" Target="../slideLayouts/slideLayout47.xml" /><Relationship Id="rId35" Type="http://schemas.openxmlformats.org/officeDocument/2006/relationships/tags" Target="../tags/tag20.xml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523033122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Folie" r:id="rId23" imgW="360" imgH="360" progId="">
                  <p:embed/>
                </p:oleObj>
              </mc:Choice>
              <mc:Fallback>
                <p:oleObj name="think-cell Folie" r:id="rId23" imgW="360" imgH="360" progId="">
                  <p:embed/>
                  <p:pic>
                    <p:nvPicPr>
                      <p:cNvPr id="7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58775" y="378001"/>
            <a:ext cx="84240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>
          <a:xfrm>
            <a:off x="358775" y="1220392"/>
            <a:ext cx="8424000" cy="3309938"/>
          </a:xfrm>
          <a:prstGeom prst="rect">
            <a:avLst/>
          </a:prstGeom>
        </p:spPr>
        <p:txBody>
          <a:bodyPr vert="horz" wrap="square" lIns="0" tIns="72000" rIns="0" bIns="72000" rtlCol="0">
            <a:normAutofit/>
          </a:bodyPr>
          <a:lstStyle/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29763" y="4880786"/>
            <a:ext cx="719980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8778" y="4880786"/>
            <a:ext cx="37098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DD587A00-45C5-427A-BDF7-9B55021A5AD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VCT_Marker_ID_4" hidden="1"/>
          <p:cNvSpPr/>
          <p:nvPr userDrawn="1">
            <p:custDataLst>
              <p:tags r:id="rId22"/>
            </p:custDataLst>
          </p:nvPr>
        </p:nvSpPr>
        <p:spPr>
          <a:xfrm>
            <a:off x="1270001" y="127001"/>
            <a:ext cx="127000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2786467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651" r:id="rId2"/>
    <p:sldLayoutId id="2147483711" r:id="rId3"/>
    <p:sldLayoutId id="2147483712" r:id="rId4"/>
    <p:sldLayoutId id="2147483650" r:id="rId5"/>
    <p:sldLayoutId id="2147483656" r:id="rId6"/>
    <p:sldLayoutId id="2147483657" r:id="rId7"/>
    <p:sldLayoutId id="2147483660" r:id="rId8"/>
    <p:sldLayoutId id="2147483668" r:id="rId9"/>
    <p:sldLayoutId id="2147483667" r:id="rId10"/>
    <p:sldLayoutId id="2147483724" r:id="rId11"/>
    <p:sldLayoutId id="2147483725" r:id="rId12"/>
    <p:sldLayoutId id="2147483713" r:id="rId13"/>
    <p:sldLayoutId id="2147483728" r:id="rId14"/>
    <p:sldLayoutId id="2147483771" r:id="rId15"/>
    <p:sldLayoutId id="2147483772" r:id="rId16"/>
    <p:sldLayoutId id="2147483773" r:id="rId17"/>
  </p:sldLayoutIdLst>
  <p:hf hdr="0" ftr="0" dt="0"/>
  <p:txStyles>
    <p:titleStyle>
      <a:lvl1pPr algn="l" defTabSz="914378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378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8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6396" indent="-176396" algn="l" defTabSz="914378" rtl="0" eaLnBrk="1" latinLnBrk="0" hangingPunct="1">
        <a:spcBef>
          <a:spcPts val="0"/>
        </a:spcBef>
        <a:spcAft>
          <a:spcPts val="600"/>
        </a:spcAft>
        <a:buClr>
          <a:schemeClr val="bg2"/>
        </a:buClr>
        <a:buSzPct val="90000"/>
        <a:buFont typeface="Wingdings" pitchFamily="2" charset="2"/>
        <a:buChar char="§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9991" indent="-183596" algn="l" defTabSz="914378" rtl="0" eaLnBrk="1" latinLnBrk="0" hangingPunct="1">
        <a:spcBef>
          <a:spcPts val="0"/>
        </a:spcBef>
        <a:spcAft>
          <a:spcPts val="600"/>
        </a:spcAft>
        <a:buClr>
          <a:schemeClr val="bg2"/>
        </a:buClr>
        <a:buSzPct val="100000"/>
        <a:buFont typeface="Symbol" pitchFamily="18" charset="2"/>
        <a:buChar char="-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6387" indent="-176396" algn="l" defTabSz="914378" rtl="0" eaLnBrk="1" latinLnBrk="0" hangingPunct="1">
        <a:spcBef>
          <a:spcPts val="0"/>
        </a:spcBef>
        <a:spcAft>
          <a:spcPts val="600"/>
        </a:spcAft>
        <a:buClr>
          <a:schemeClr val="bg2"/>
        </a:buClr>
        <a:buSzPct val="100000"/>
        <a:buFont typeface="Symbol" pitchFamily="18" charset="2"/>
        <a:buChar char="-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0" indent="0" algn="l" defTabSz="914378" rtl="0" eaLnBrk="1" latinLnBrk="0" hangingPunct="1">
        <a:spcBef>
          <a:spcPts val="0"/>
        </a:spcBef>
        <a:spcAft>
          <a:spcPts val="600"/>
        </a:spcAft>
        <a:buClr>
          <a:schemeClr val="bg2"/>
        </a:buClr>
        <a:buSzPct val="100000"/>
        <a:buFontTx/>
        <a:buNone/>
        <a:defRPr sz="1800" b="1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34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Folie" r:id="rId37" imgW="360" imgH="360" progId="">
                  <p:embed/>
                </p:oleObj>
              </mc:Choice>
              <mc:Fallback>
                <p:oleObj name="think-cell Folie" r:id="rId37" imgW="360" imgH="360" progId="">
                  <p:embed/>
                  <p:pic>
                    <p:nvPicPr>
                      <p:cNvPr id="7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58775" y="378001"/>
            <a:ext cx="84240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35"/>
            </p:custDataLst>
          </p:nvPr>
        </p:nvSpPr>
        <p:spPr>
          <a:xfrm>
            <a:off x="358775" y="1220392"/>
            <a:ext cx="8424000" cy="3309938"/>
          </a:xfrm>
          <a:prstGeom prst="rect">
            <a:avLst/>
          </a:prstGeom>
        </p:spPr>
        <p:txBody>
          <a:bodyPr vert="horz" wrap="square" lIns="0" tIns="72000" rIns="0" bIns="72000" rtlCol="0">
            <a:normAutofit/>
          </a:bodyPr>
          <a:lstStyle/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29763" y="4880786"/>
            <a:ext cx="719980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8778" y="4880786"/>
            <a:ext cx="37098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DD587A00-45C5-427A-BDF7-9B55021A5AD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VCT_Marker_ID_4" hidden="1"/>
          <p:cNvSpPr/>
          <p:nvPr userDrawn="1">
            <p:custDataLst>
              <p:tags r:id="rId36"/>
            </p:custDataLst>
          </p:nvPr>
        </p:nvSpPr>
        <p:spPr>
          <a:xfrm>
            <a:off x="1270001" y="127001"/>
            <a:ext cx="127000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910353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  <p:sldLayoutId id="2147483765" r:id="rId26"/>
    <p:sldLayoutId id="2147483766" r:id="rId27"/>
    <p:sldLayoutId id="2147483767" r:id="rId28"/>
    <p:sldLayoutId id="2147483768" r:id="rId29"/>
    <p:sldLayoutId id="2147483769" r:id="rId30"/>
    <p:sldLayoutId id="2147483770" r:id="rId31"/>
  </p:sldLayoutIdLst>
  <p:hf hdr="0" ftr="0" dt="0"/>
  <p:txStyles>
    <p:titleStyle>
      <a:lvl1pPr algn="l" defTabSz="914378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378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8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6396" indent="-176396" algn="l" defTabSz="914378" rtl="0" eaLnBrk="1" latinLnBrk="0" hangingPunct="1">
        <a:spcBef>
          <a:spcPts val="0"/>
        </a:spcBef>
        <a:spcAft>
          <a:spcPts val="600"/>
        </a:spcAft>
        <a:buClr>
          <a:schemeClr val="bg2"/>
        </a:buClr>
        <a:buSzPct val="90000"/>
        <a:buFont typeface="Wingdings" pitchFamily="2" charset="2"/>
        <a:buChar char="§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9991" indent="-183596" algn="l" defTabSz="914378" rtl="0" eaLnBrk="1" latinLnBrk="0" hangingPunct="1">
        <a:spcBef>
          <a:spcPts val="0"/>
        </a:spcBef>
        <a:spcAft>
          <a:spcPts val="600"/>
        </a:spcAft>
        <a:buClr>
          <a:schemeClr val="bg2"/>
        </a:buClr>
        <a:buSzPct val="100000"/>
        <a:buFont typeface="Symbol" pitchFamily="18" charset="2"/>
        <a:buChar char="-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6387" indent="-176396" algn="l" defTabSz="914378" rtl="0" eaLnBrk="1" latinLnBrk="0" hangingPunct="1">
        <a:spcBef>
          <a:spcPts val="0"/>
        </a:spcBef>
        <a:spcAft>
          <a:spcPts val="600"/>
        </a:spcAft>
        <a:buClr>
          <a:schemeClr val="bg2"/>
        </a:buClr>
        <a:buSzPct val="100000"/>
        <a:buFont typeface="Symbol" pitchFamily="18" charset="2"/>
        <a:buChar char="-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0" indent="0" algn="l" defTabSz="914378" rtl="0" eaLnBrk="1" latinLnBrk="0" hangingPunct="1">
        <a:spcBef>
          <a:spcPts val="0"/>
        </a:spcBef>
        <a:spcAft>
          <a:spcPts val="600"/>
        </a:spcAft>
        <a:buClr>
          <a:schemeClr val="bg2"/>
        </a:buClr>
        <a:buSzPct val="100000"/>
        <a:buFontTx/>
        <a:buNone/>
        <a:defRPr sz="1800" b="1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 /><Relationship Id="rId2" Type="http://schemas.openxmlformats.org/officeDocument/2006/relationships/notesSlide" Target="../notesSlides/notesSlide1.xml" /><Relationship Id="rId1" Type="http://schemas.openxmlformats.org/officeDocument/2006/relationships/slideLayout" Target="../slideLayouts/slideLayout15.xml" /><Relationship Id="rId6" Type="http://schemas.openxmlformats.org/officeDocument/2006/relationships/image" Target="../media/image26.png" /><Relationship Id="rId5" Type="http://schemas.microsoft.com/office/2007/relationships/hdphoto" Target="../media/hdphoto1.wdp" /><Relationship Id="rId4" Type="http://schemas.openxmlformats.org/officeDocument/2006/relationships/image" Target="../media/image25.png" 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 /><Relationship Id="rId3" Type="http://schemas.openxmlformats.org/officeDocument/2006/relationships/tags" Target="../tags/tag28.xml" /><Relationship Id="rId7" Type="http://schemas.openxmlformats.org/officeDocument/2006/relationships/notesSlide" Target="../notesSlides/notesSlide2.xml" /><Relationship Id="rId2" Type="http://schemas.openxmlformats.org/officeDocument/2006/relationships/tags" Target="../tags/tag27.xml" /><Relationship Id="rId1" Type="http://schemas.openxmlformats.org/officeDocument/2006/relationships/tags" Target="../tags/tag26.xml" /><Relationship Id="rId6" Type="http://schemas.openxmlformats.org/officeDocument/2006/relationships/slideLayout" Target="../slideLayouts/slideLayout17.xml" /><Relationship Id="rId5" Type="http://schemas.openxmlformats.org/officeDocument/2006/relationships/tags" Target="../tags/tag30.xml" /><Relationship Id="rId4" Type="http://schemas.openxmlformats.org/officeDocument/2006/relationships/tags" Target="../tags/tag29.xml" 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 /><Relationship Id="rId3" Type="http://schemas.openxmlformats.org/officeDocument/2006/relationships/tags" Target="../tags/tag33.xml" /><Relationship Id="rId7" Type="http://schemas.openxmlformats.org/officeDocument/2006/relationships/notesSlide" Target="../notesSlides/notesSlide3.xml" /><Relationship Id="rId2" Type="http://schemas.openxmlformats.org/officeDocument/2006/relationships/tags" Target="../tags/tag32.xml" /><Relationship Id="rId1" Type="http://schemas.openxmlformats.org/officeDocument/2006/relationships/tags" Target="../tags/tag31.xml" /><Relationship Id="rId6" Type="http://schemas.openxmlformats.org/officeDocument/2006/relationships/slideLayout" Target="../slideLayouts/slideLayout17.xml" /><Relationship Id="rId5" Type="http://schemas.openxmlformats.org/officeDocument/2006/relationships/tags" Target="../tags/tag35.xml" /><Relationship Id="rId4" Type="http://schemas.openxmlformats.org/officeDocument/2006/relationships/tags" Target="../tags/tag34.xml" 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 /><Relationship Id="rId3" Type="http://schemas.openxmlformats.org/officeDocument/2006/relationships/tags" Target="../tags/tag38.xml" /><Relationship Id="rId7" Type="http://schemas.openxmlformats.org/officeDocument/2006/relationships/notesSlide" Target="../notesSlides/notesSlide4.xml" /><Relationship Id="rId2" Type="http://schemas.openxmlformats.org/officeDocument/2006/relationships/tags" Target="../tags/tag37.xml" /><Relationship Id="rId1" Type="http://schemas.openxmlformats.org/officeDocument/2006/relationships/tags" Target="../tags/tag36.xml" /><Relationship Id="rId6" Type="http://schemas.openxmlformats.org/officeDocument/2006/relationships/slideLayout" Target="../slideLayouts/slideLayout17.xml" /><Relationship Id="rId5" Type="http://schemas.openxmlformats.org/officeDocument/2006/relationships/tags" Target="../tags/tag40.xml" /><Relationship Id="rId4" Type="http://schemas.openxmlformats.org/officeDocument/2006/relationships/tags" Target="../tags/tag39.xml" 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 /><Relationship Id="rId7" Type="http://schemas.openxmlformats.org/officeDocument/2006/relationships/notesSlide" Target="../notesSlides/notesSlide5.xml" /><Relationship Id="rId2" Type="http://schemas.openxmlformats.org/officeDocument/2006/relationships/tags" Target="../tags/tag42.xml" /><Relationship Id="rId1" Type="http://schemas.openxmlformats.org/officeDocument/2006/relationships/tags" Target="../tags/tag41.xml" /><Relationship Id="rId6" Type="http://schemas.openxmlformats.org/officeDocument/2006/relationships/slideLayout" Target="../slideLayouts/slideLayout17.xml" /><Relationship Id="rId5" Type="http://schemas.openxmlformats.org/officeDocument/2006/relationships/tags" Target="../tags/tag45.xml" /><Relationship Id="rId4" Type="http://schemas.openxmlformats.org/officeDocument/2006/relationships/tags" Target="../tags/tag44.xml" 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 /><Relationship Id="rId3" Type="http://schemas.openxmlformats.org/officeDocument/2006/relationships/tags" Target="../tags/tag48.xml" /><Relationship Id="rId7" Type="http://schemas.openxmlformats.org/officeDocument/2006/relationships/notesSlide" Target="../notesSlides/notesSlide6.xml" /><Relationship Id="rId2" Type="http://schemas.openxmlformats.org/officeDocument/2006/relationships/tags" Target="../tags/tag47.xml" /><Relationship Id="rId1" Type="http://schemas.openxmlformats.org/officeDocument/2006/relationships/tags" Target="../tags/tag46.xml" /><Relationship Id="rId6" Type="http://schemas.openxmlformats.org/officeDocument/2006/relationships/slideLayout" Target="../slideLayouts/slideLayout17.xml" /><Relationship Id="rId5" Type="http://schemas.openxmlformats.org/officeDocument/2006/relationships/tags" Target="../tags/tag50.xml" /><Relationship Id="rId4" Type="http://schemas.openxmlformats.org/officeDocument/2006/relationships/tags" Target="../tags/tag49.xml" /><Relationship Id="rId9" Type="http://schemas.openxmlformats.org/officeDocument/2006/relationships/image" Target="../media/image28.svg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6">
            <a:extLst>
              <a:ext uri="{FF2B5EF4-FFF2-40B4-BE49-F238E27FC236}">
                <a16:creationId xmlns:a16="http://schemas.microsoft.com/office/drawing/2014/main" id="{7917DC8C-385F-40B2-B8AD-5A6A76BDAC43}"/>
              </a:ext>
            </a:extLst>
          </p:cNvPr>
          <p:cNvSpPr txBox="1">
            <a:spLocks/>
          </p:cNvSpPr>
          <p:nvPr/>
        </p:nvSpPr>
        <p:spPr bwMode="gray">
          <a:xfrm>
            <a:off x="1691680" y="1923677"/>
            <a:ext cx="4662778" cy="19968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90000"/>
              <a:buFontTx/>
              <a:buNone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Tx/>
              <a:buNone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Tx/>
              <a:buNone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Tx/>
              <a:buNone/>
              <a:defRPr sz="1800" b="1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 defTabSz="9144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b="1" dirty="0">
                <a:solidFill>
                  <a:schemeClr val="bg2"/>
                </a:solidFill>
                <a:latin typeface="Arial" charset="0"/>
                <a:cs typeface="Arial" charset="0"/>
              </a:rPr>
              <a:t>Судебный сегмент в структуре рынка взыскания: характеристика, динамика, вызовы</a:t>
            </a:r>
          </a:p>
          <a:p>
            <a:endParaRPr lang="en-US" sz="2400" b="1" dirty="0">
              <a:solidFill>
                <a:schemeClr val="bg2"/>
              </a:solidFill>
              <a:latin typeface="Arial" charset="0"/>
              <a:cs typeface="Arial" charset="0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328AF32-744C-473C-B0A3-75F4C16A36A0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74" y="0"/>
            <a:ext cx="1547738" cy="5143500"/>
          </a:xfrm>
          <a:prstGeom prst="rect">
            <a:avLst/>
          </a:prstGeom>
        </p:spPr>
      </p:pic>
      <p:sp>
        <p:nvSpPr>
          <p:cNvPr id="17" name="Titel 35">
            <a:extLst>
              <a:ext uri="{FF2B5EF4-FFF2-40B4-BE49-F238E27FC236}">
                <a16:creationId xmlns:a16="http://schemas.microsoft.com/office/drawing/2014/main" id="{FBC3D905-5B9D-49AD-ABC3-93BB2A03E115}"/>
              </a:ext>
            </a:extLst>
          </p:cNvPr>
          <p:cNvSpPr txBox="1">
            <a:spLocks/>
          </p:cNvSpPr>
          <p:nvPr/>
        </p:nvSpPr>
        <p:spPr bwMode="gray">
          <a:xfrm>
            <a:off x="1565406" y="0"/>
            <a:ext cx="6032912" cy="303030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5000" kern="1200" cap="none" baseline="0">
                <a:solidFill>
                  <a:schemeClr val="bg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endParaRPr lang="ru-RU" sz="2400" dirty="0"/>
          </a:p>
          <a:p>
            <a:endParaRPr lang="ru-RU" sz="2400" dirty="0"/>
          </a:p>
        </p:txBody>
      </p:sp>
      <p:pic>
        <p:nvPicPr>
          <p:cNvPr id="25" name="Bildplatzhalter 9">
            <a:extLst>
              <a:ext uri="{FF2B5EF4-FFF2-40B4-BE49-F238E27FC236}">
                <a16:creationId xmlns:a16="http://schemas.microsoft.com/office/drawing/2014/main" id="{2E637B50-A6D1-4093-AB70-46B6618F460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6677"/>
                    </a14:imgEffect>
                    <a14:imgEffect>
                      <a14:brightnessContrast bright="13000" contrast="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3" b="33"/>
          <a:stretch/>
        </p:blipFill>
        <p:spPr bwMode="gray">
          <a:xfrm>
            <a:off x="6003821" y="-4500"/>
            <a:ext cx="3159977" cy="5148000"/>
          </a:xfrm>
          <a:custGeom>
            <a:avLst/>
            <a:gdLst>
              <a:gd name="connsiteX0" fmla="*/ 0 w 4295489"/>
              <a:gd name="connsiteY0" fmla="*/ 0 h 6886575"/>
              <a:gd name="connsiteX1" fmla="*/ 4295489 w 4295489"/>
              <a:gd name="connsiteY1" fmla="*/ 0 h 6886575"/>
              <a:gd name="connsiteX2" fmla="*/ 4295489 w 4295489"/>
              <a:gd name="connsiteY2" fmla="*/ 6886575 h 6886575"/>
              <a:gd name="connsiteX3" fmla="*/ 0 w 4295489"/>
              <a:gd name="connsiteY3" fmla="*/ 6886575 h 6886575"/>
              <a:gd name="connsiteX4" fmla="*/ 0 w 4295489"/>
              <a:gd name="connsiteY4" fmla="*/ 6877050 h 6886575"/>
              <a:gd name="connsiteX5" fmla="*/ 1881741 w 4295489"/>
              <a:gd name="connsiteY5" fmla="*/ 6877050 h 6886575"/>
              <a:gd name="connsiteX6" fmla="*/ 68329 w 4295489"/>
              <a:gd name="connsiteY6" fmla="*/ 12599 h 6886575"/>
              <a:gd name="connsiteX7" fmla="*/ 0 w 4295489"/>
              <a:gd name="connsiteY7" fmla="*/ 12643 h 6886575"/>
              <a:gd name="connsiteX0" fmla="*/ 0 w 4295489"/>
              <a:gd name="connsiteY0" fmla="*/ 12643 h 6886575"/>
              <a:gd name="connsiteX1" fmla="*/ 4295489 w 4295489"/>
              <a:gd name="connsiteY1" fmla="*/ 0 h 6886575"/>
              <a:gd name="connsiteX2" fmla="*/ 4295489 w 4295489"/>
              <a:gd name="connsiteY2" fmla="*/ 6886575 h 6886575"/>
              <a:gd name="connsiteX3" fmla="*/ 0 w 4295489"/>
              <a:gd name="connsiteY3" fmla="*/ 6886575 h 6886575"/>
              <a:gd name="connsiteX4" fmla="*/ 0 w 4295489"/>
              <a:gd name="connsiteY4" fmla="*/ 6877050 h 6886575"/>
              <a:gd name="connsiteX5" fmla="*/ 1881741 w 4295489"/>
              <a:gd name="connsiteY5" fmla="*/ 6877050 h 6886575"/>
              <a:gd name="connsiteX6" fmla="*/ 68329 w 4295489"/>
              <a:gd name="connsiteY6" fmla="*/ 12599 h 6886575"/>
              <a:gd name="connsiteX7" fmla="*/ 0 w 4295489"/>
              <a:gd name="connsiteY7" fmla="*/ 12643 h 6886575"/>
              <a:gd name="connsiteX0" fmla="*/ 68329 w 4295489"/>
              <a:gd name="connsiteY0" fmla="*/ 12599 h 6886575"/>
              <a:gd name="connsiteX1" fmla="*/ 4295489 w 4295489"/>
              <a:gd name="connsiteY1" fmla="*/ 0 h 6886575"/>
              <a:gd name="connsiteX2" fmla="*/ 4295489 w 4295489"/>
              <a:gd name="connsiteY2" fmla="*/ 6886575 h 6886575"/>
              <a:gd name="connsiteX3" fmla="*/ 0 w 4295489"/>
              <a:gd name="connsiteY3" fmla="*/ 6886575 h 6886575"/>
              <a:gd name="connsiteX4" fmla="*/ 0 w 4295489"/>
              <a:gd name="connsiteY4" fmla="*/ 6877050 h 6886575"/>
              <a:gd name="connsiteX5" fmla="*/ 1881741 w 4295489"/>
              <a:gd name="connsiteY5" fmla="*/ 6877050 h 6886575"/>
              <a:gd name="connsiteX6" fmla="*/ 68329 w 4295489"/>
              <a:gd name="connsiteY6" fmla="*/ 12599 h 6886575"/>
              <a:gd name="connsiteX0" fmla="*/ 68329 w 4295489"/>
              <a:gd name="connsiteY0" fmla="*/ 3074 h 6886575"/>
              <a:gd name="connsiteX1" fmla="*/ 4295489 w 4295489"/>
              <a:gd name="connsiteY1" fmla="*/ 0 h 6886575"/>
              <a:gd name="connsiteX2" fmla="*/ 4295489 w 4295489"/>
              <a:gd name="connsiteY2" fmla="*/ 6886575 h 6886575"/>
              <a:gd name="connsiteX3" fmla="*/ 0 w 4295489"/>
              <a:gd name="connsiteY3" fmla="*/ 6886575 h 6886575"/>
              <a:gd name="connsiteX4" fmla="*/ 0 w 4295489"/>
              <a:gd name="connsiteY4" fmla="*/ 6877050 h 6886575"/>
              <a:gd name="connsiteX5" fmla="*/ 1881741 w 4295489"/>
              <a:gd name="connsiteY5" fmla="*/ 6877050 h 6886575"/>
              <a:gd name="connsiteX6" fmla="*/ 68329 w 4295489"/>
              <a:gd name="connsiteY6" fmla="*/ 3074 h 6886575"/>
              <a:gd name="connsiteX0" fmla="*/ 68329 w 4295489"/>
              <a:gd name="connsiteY0" fmla="*/ 3074 h 6886575"/>
              <a:gd name="connsiteX1" fmla="*/ 4295489 w 4295489"/>
              <a:gd name="connsiteY1" fmla="*/ 0 h 6886575"/>
              <a:gd name="connsiteX2" fmla="*/ 4295489 w 4295489"/>
              <a:gd name="connsiteY2" fmla="*/ 6886575 h 6886575"/>
              <a:gd name="connsiteX3" fmla="*/ 0 w 4295489"/>
              <a:gd name="connsiteY3" fmla="*/ 6886575 h 6886575"/>
              <a:gd name="connsiteX4" fmla="*/ 1881741 w 4295489"/>
              <a:gd name="connsiteY4" fmla="*/ 6877050 h 6886575"/>
              <a:gd name="connsiteX5" fmla="*/ 68329 w 4295489"/>
              <a:gd name="connsiteY5" fmla="*/ 3074 h 6886575"/>
              <a:gd name="connsiteX0" fmla="*/ 0 w 4227160"/>
              <a:gd name="connsiteY0" fmla="*/ 3074 h 6886575"/>
              <a:gd name="connsiteX1" fmla="*/ 4227160 w 4227160"/>
              <a:gd name="connsiteY1" fmla="*/ 0 h 6886575"/>
              <a:gd name="connsiteX2" fmla="*/ 4227160 w 4227160"/>
              <a:gd name="connsiteY2" fmla="*/ 6886575 h 6886575"/>
              <a:gd name="connsiteX3" fmla="*/ 1813412 w 4227160"/>
              <a:gd name="connsiteY3" fmla="*/ 6877050 h 6886575"/>
              <a:gd name="connsiteX4" fmla="*/ 0 w 4227160"/>
              <a:gd name="connsiteY4" fmla="*/ 3074 h 6886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27160" h="6886575">
                <a:moveTo>
                  <a:pt x="0" y="3074"/>
                </a:moveTo>
                <a:lnTo>
                  <a:pt x="4227160" y="0"/>
                </a:lnTo>
                <a:lnTo>
                  <a:pt x="4227160" y="6886575"/>
                </a:lnTo>
                <a:lnTo>
                  <a:pt x="1813412" y="6877050"/>
                </a:lnTo>
                <a:lnTo>
                  <a:pt x="0" y="3074"/>
                </a:lnTo>
                <a:close/>
              </a:path>
            </a:pathLst>
          </a:custGeom>
        </p:spPr>
      </p:pic>
      <p:sp>
        <p:nvSpPr>
          <p:cNvPr id="26" name="Textplatzhalter 18">
            <a:extLst>
              <a:ext uri="{FF2B5EF4-FFF2-40B4-BE49-F238E27FC236}">
                <a16:creationId xmlns:a16="http://schemas.microsoft.com/office/drawing/2014/main" id="{737B6CA9-6AF9-4BA2-97A8-6E957BE96F8B}"/>
              </a:ext>
            </a:extLst>
          </p:cNvPr>
          <p:cNvSpPr txBox="1">
            <a:spLocks/>
          </p:cNvSpPr>
          <p:nvPr/>
        </p:nvSpPr>
        <p:spPr bwMode="gray">
          <a:xfrm>
            <a:off x="8172400" y="4155926"/>
            <a:ext cx="608400" cy="612000"/>
          </a:xfrm>
          <a:prstGeom prst="rect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800" b="0" kern="1200" baseline="0">
                <a:noFill/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90000"/>
              <a:buFontTx/>
              <a:buNone/>
              <a:defRPr sz="1800" kern="1200">
                <a:noFill/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Tx/>
              <a:buNone/>
              <a:defRPr sz="1800" kern="1200">
                <a:noFill/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Tx/>
              <a:buNone/>
              <a:defRPr sz="1800" kern="1200">
                <a:noFill/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Tx/>
              <a:buNone/>
              <a:defRPr sz="1800" b="1" kern="1200">
                <a:noFill/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kern="120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kern="120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kern="120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kern="120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Mastertextformat bearbeiten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691680" y="1059582"/>
            <a:ext cx="288032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400" b="1" dirty="0">
                <a:solidFill>
                  <a:schemeClr val="bg2"/>
                </a:solidFill>
                <a:latin typeface="Arial" charset="0"/>
                <a:cs typeface="Arial" charset="0"/>
              </a:rPr>
              <a:t>EOS</a:t>
            </a:r>
            <a:endParaRPr lang="ru-RU" sz="4000" dirty="0"/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C1BB0600-A7FB-4C2D-967C-779A9A8AD52F}"/>
              </a:ext>
            </a:extLst>
          </p:cNvPr>
          <p:cNvSpPr txBox="1">
            <a:spLocks/>
          </p:cNvSpPr>
          <p:nvPr/>
        </p:nvSpPr>
        <p:spPr bwMode="gray">
          <a:xfrm>
            <a:off x="1638193" y="3920553"/>
            <a:ext cx="4328019" cy="741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90000"/>
              <a:buFontTx/>
              <a:buNone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Tx/>
              <a:buNone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Tx/>
              <a:buNone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Tx/>
              <a:buNone/>
              <a:defRPr sz="1800" b="1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 defTabSz="9144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EOS </a:t>
            </a:r>
            <a:r>
              <a:rPr lang="ru-RU" b="1" dirty="0"/>
              <a:t>Россия</a:t>
            </a:r>
          </a:p>
          <a:p>
            <a:r>
              <a:rPr lang="ru-RU" sz="1400" dirty="0"/>
              <a:t>20</a:t>
            </a:r>
            <a:r>
              <a:rPr lang="en-US" sz="1400" dirty="0"/>
              <a:t>2</a:t>
            </a:r>
            <a:r>
              <a:rPr lang="ru-RU" sz="1400" dirty="0"/>
              <a:t>1</a:t>
            </a:r>
            <a:r>
              <a:rPr lang="en-US" sz="1400" dirty="0"/>
              <a:t> </a:t>
            </a:r>
            <a:r>
              <a:rPr lang="ru-RU" sz="1400" dirty="0"/>
              <a:t>год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644462824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2B0AF1A-2CF5-4B9E-8DD6-7933B8FCF293}"/>
              </a:ext>
            </a:extLst>
          </p:cNvPr>
          <p:cNvSpPr/>
          <p:nvPr/>
        </p:nvSpPr>
        <p:spPr>
          <a:xfrm>
            <a:off x="358775" y="4114154"/>
            <a:ext cx="1409856" cy="233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300"/>
              </a:spcAft>
            </a:pPr>
            <a:r>
              <a:rPr lang="ru-RU" sz="9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сточник: НАПКА, ЭОС</a:t>
            </a:r>
            <a:endParaRPr lang="ru-RU" sz="13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14" name="Gruppieren 264">
            <a:extLst>
              <a:ext uri="{FF2B5EF4-FFF2-40B4-BE49-F238E27FC236}">
                <a16:creationId xmlns:a16="http://schemas.microsoft.com/office/drawing/2014/main" id="{C021DC04-7C63-40AA-9778-CA7804EDF1A1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361951" y="158752"/>
            <a:ext cx="501650" cy="144463"/>
            <a:chOff x="362156" y="138976"/>
            <a:chExt cx="501432" cy="144000"/>
          </a:xfrm>
        </p:grpSpPr>
        <p:sp>
          <p:nvSpPr>
            <p:cNvPr id="16" name="Rechteck 6">
              <a:extLst>
                <a:ext uri="{FF2B5EF4-FFF2-40B4-BE49-F238E27FC236}">
                  <a16:creationId xmlns:a16="http://schemas.microsoft.com/office/drawing/2014/main" id="{E6089CDD-4BC5-4FC6-AEFC-0107E8B7145F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 bwMode="gray">
            <a:xfrm>
              <a:off x="539879" y="138976"/>
              <a:ext cx="144400" cy="144000"/>
            </a:xfrm>
            <a:prstGeom prst="rect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2400" dirty="0"/>
            </a:p>
          </p:txBody>
        </p:sp>
        <p:sp>
          <p:nvSpPr>
            <p:cNvPr id="17" name="Rechteck 7">
              <a:extLst>
                <a:ext uri="{FF2B5EF4-FFF2-40B4-BE49-F238E27FC236}">
                  <a16:creationId xmlns:a16="http://schemas.microsoft.com/office/drawing/2014/main" id="{718E1AE4-2804-41DB-8E28-2A1F9AA75468}"/>
                </a:ext>
              </a:extLst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 bwMode="gray">
            <a:xfrm>
              <a:off x="719189" y="138976"/>
              <a:ext cx="144399" cy="144000"/>
            </a:xfrm>
            <a:prstGeom prst="rect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2400" dirty="0"/>
            </a:p>
          </p:txBody>
        </p:sp>
        <p:sp>
          <p:nvSpPr>
            <p:cNvPr id="18" name="Rechteck 8">
              <a:extLst>
                <a:ext uri="{FF2B5EF4-FFF2-40B4-BE49-F238E27FC236}">
                  <a16:creationId xmlns:a16="http://schemas.microsoft.com/office/drawing/2014/main" id="{2CE372C2-BDA1-4784-944B-E9B9A6CEC9EE}"/>
                </a:ext>
              </a:extLst>
            </p:cNvPr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gray">
            <a:xfrm>
              <a:off x="362156" y="138976"/>
              <a:ext cx="144400" cy="144000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2400" dirty="0"/>
            </a:p>
          </p:txBody>
        </p:sp>
      </p:grp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AE135E24-B7A9-4DEF-8D00-11C5A1CA20DA}"/>
              </a:ext>
            </a:extLst>
          </p:cNvPr>
          <p:cNvSpPr/>
          <p:nvPr/>
        </p:nvSpPr>
        <p:spPr>
          <a:xfrm>
            <a:off x="884123" y="92755"/>
            <a:ext cx="125832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573074" algn="l"/>
              </a:tabLst>
            </a:pPr>
            <a:r>
              <a:rPr lang="de-DE" altLang="de-DE" sz="1200" dirty="0">
                <a:solidFill>
                  <a:schemeClr val="bg2"/>
                </a:solidFill>
                <a:latin typeface="Arial" charset="0"/>
                <a:cs typeface="Arial" charset="0"/>
              </a:rPr>
              <a:t>EOS Russia</a:t>
            </a:r>
          </a:p>
        </p:txBody>
      </p:sp>
      <p:sp>
        <p:nvSpPr>
          <p:cNvPr id="27" name="Titel 3">
            <a:extLst>
              <a:ext uri="{FF2B5EF4-FFF2-40B4-BE49-F238E27FC236}">
                <a16:creationId xmlns:a16="http://schemas.microsoft.com/office/drawing/2014/main" id="{09A11900-D6ED-4C70-88FD-A1CA33E22986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58775" y="377825"/>
            <a:ext cx="8423275" cy="30777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sz="2000" kern="0" dirty="0">
                <a:solidFill>
                  <a:schemeClr val="accent2"/>
                </a:solidFill>
              </a:rPr>
              <a:t>Цессионный портфель в работе КА. Динамика</a:t>
            </a:r>
          </a:p>
        </p:txBody>
      </p:sp>
      <p:sp>
        <p:nvSpPr>
          <p:cNvPr id="28" name="Fußzeilenplatzhalter 265">
            <a:extLst>
              <a:ext uri="{FF2B5EF4-FFF2-40B4-BE49-F238E27FC236}">
                <a16:creationId xmlns:a16="http://schemas.microsoft.com/office/drawing/2014/main" id="{830B4FF9-4AB9-49B1-8047-B4E429BC920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auto">
          <a:xfrm>
            <a:off x="729762" y="4880784"/>
            <a:ext cx="7199801" cy="123111"/>
          </a:xfrm>
          <a:ln>
            <a:miter lim="800000"/>
            <a:headEnd/>
            <a:tailEnd/>
          </a:ln>
        </p:spPr>
        <p:txBody>
          <a:bodyPr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/>
              <a:t>EOS Group – For a debt-free world © EOS</a:t>
            </a:r>
            <a:endParaRPr lang="de-DE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F2D627DF-FE1E-4545-BA73-BA186F6B07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391D8CE9-C67E-425B-A3B0-F5CBCB7FB14C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63CB27A2-6DA4-49CF-A84B-628A2A313F3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86744604"/>
              </p:ext>
            </p:extLst>
          </p:nvPr>
        </p:nvGraphicFramePr>
        <p:xfrm>
          <a:off x="251520" y="1022706"/>
          <a:ext cx="4948174" cy="30914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6B490C8E-4940-4ED9-A324-E4AAB69F1FAB}"/>
              </a:ext>
            </a:extLst>
          </p:cNvPr>
          <p:cNvSpPr txBox="1"/>
          <p:nvPr/>
        </p:nvSpPr>
        <p:spPr>
          <a:xfrm>
            <a:off x="5209896" y="1176438"/>
            <a:ext cx="3744416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b="0" i="0" dirty="0">
                <a:solidFill>
                  <a:srgbClr val="333333"/>
                </a:solidFill>
                <a:effectLst/>
              </a:rPr>
              <a:t>За период 2016 – 1 квартал 2021 г. в работу коллекторских агентств поступило </a:t>
            </a:r>
            <a:r>
              <a:rPr lang="ru-RU" b="1" i="0" dirty="0">
                <a:solidFill>
                  <a:schemeClr val="bg2"/>
                </a:solidFill>
                <a:effectLst/>
              </a:rPr>
              <a:t>8,6</a:t>
            </a:r>
            <a:r>
              <a:rPr lang="ru-RU" sz="1400" b="0" i="0" dirty="0">
                <a:solidFill>
                  <a:srgbClr val="333333"/>
                </a:solidFill>
                <a:effectLst/>
              </a:rPr>
              <a:t> </a:t>
            </a:r>
            <a:r>
              <a:rPr lang="ru-RU" sz="1400" b="1" i="0" dirty="0">
                <a:solidFill>
                  <a:schemeClr val="bg2"/>
                </a:solidFill>
                <a:effectLst/>
              </a:rPr>
              <a:t>млн</a:t>
            </a:r>
            <a:r>
              <a:rPr lang="ru-RU" sz="1400" b="0" i="0" dirty="0">
                <a:solidFill>
                  <a:srgbClr val="333333"/>
                </a:solidFill>
                <a:effectLst/>
              </a:rPr>
              <a:t> банковских кейсов на сумму </a:t>
            </a:r>
            <a:r>
              <a:rPr lang="ru-RU" b="1" i="0" dirty="0">
                <a:solidFill>
                  <a:schemeClr val="bg2"/>
                </a:solidFill>
                <a:effectLst/>
              </a:rPr>
              <a:t>1,476</a:t>
            </a:r>
            <a:r>
              <a:rPr lang="ru-RU" sz="1400" b="1" i="0" dirty="0">
                <a:solidFill>
                  <a:schemeClr val="bg2"/>
                </a:solidFill>
                <a:effectLst/>
              </a:rPr>
              <a:t> трлн </a:t>
            </a:r>
            <a:r>
              <a:rPr lang="ru-RU" sz="1400" b="0" i="0" dirty="0">
                <a:solidFill>
                  <a:srgbClr val="333333"/>
                </a:solidFill>
                <a:effectLst/>
              </a:rPr>
              <a:t>рублей. </a:t>
            </a:r>
          </a:p>
          <a:p>
            <a:endParaRPr lang="ru-RU" sz="1400" dirty="0">
              <a:solidFill>
                <a:srgbClr val="333333"/>
              </a:solidFill>
            </a:endParaRPr>
          </a:p>
          <a:p>
            <a:r>
              <a:rPr lang="ru-RU" sz="1400" b="0" i="0" dirty="0">
                <a:solidFill>
                  <a:srgbClr val="333333"/>
                </a:solidFill>
                <a:effectLst/>
              </a:rPr>
              <a:t>На текущий момент объем приобретённого за 5 лет портфеля в работе КА оценивается в размере</a:t>
            </a:r>
          </a:p>
          <a:p>
            <a:endParaRPr lang="ru-RU" sz="1400" dirty="0">
              <a:solidFill>
                <a:srgbClr val="333333"/>
              </a:solidFill>
            </a:endParaRPr>
          </a:p>
          <a:p>
            <a:r>
              <a:rPr lang="ru-RU" b="1" i="0" dirty="0">
                <a:solidFill>
                  <a:schemeClr val="bg2"/>
                </a:solidFill>
                <a:effectLst/>
              </a:rPr>
              <a:t>8</a:t>
            </a:r>
            <a:r>
              <a:rPr lang="ru-RU" sz="1400" b="0" i="0" dirty="0">
                <a:solidFill>
                  <a:srgbClr val="333333"/>
                </a:solidFill>
                <a:effectLst/>
              </a:rPr>
              <a:t> </a:t>
            </a:r>
            <a:r>
              <a:rPr lang="ru-RU" sz="1400" b="1" i="0" dirty="0">
                <a:solidFill>
                  <a:schemeClr val="bg2"/>
                </a:solidFill>
                <a:effectLst/>
              </a:rPr>
              <a:t>млн</a:t>
            </a:r>
            <a:r>
              <a:rPr lang="ru-RU" sz="1400" b="0" i="0" dirty="0">
                <a:solidFill>
                  <a:srgbClr val="333333"/>
                </a:solidFill>
                <a:effectLst/>
              </a:rPr>
              <a:t> кейсов на сумму </a:t>
            </a:r>
          </a:p>
          <a:p>
            <a:r>
              <a:rPr lang="ru-RU" b="1" i="0" dirty="0">
                <a:solidFill>
                  <a:schemeClr val="bg2"/>
                </a:solidFill>
                <a:effectLst/>
              </a:rPr>
              <a:t>1,4 </a:t>
            </a:r>
            <a:r>
              <a:rPr lang="ru-RU" sz="1400" b="1" i="0" dirty="0">
                <a:solidFill>
                  <a:schemeClr val="bg2"/>
                </a:solidFill>
                <a:effectLst/>
              </a:rPr>
              <a:t>трлн</a:t>
            </a:r>
            <a:r>
              <a:rPr lang="ru-RU" sz="1400" b="0" i="0" dirty="0">
                <a:solidFill>
                  <a:srgbClr val="333333"/>
                </a:solidFill>
                <a:effectLst/>
              </a:rPr>
              <a:t> рублей</a:t>
            </a:r>
          </a:p>
          <a:p>
            <a:endParaRPr lang="ru-RU" sz="1400" b="0" i="0" dirty="0">
              <a:solidFill>
                <a:srgbClr val="333333"/>
              </a:solidFill>
              <a:effectLst/>
            </a:endParaRPr>
          </a:p>
          <a:p>
            <a:endParaRPr lang="ru-RU" sz="1400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2003923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2B0AF1A-2CF5-4B9E-8DD6-7933B8FCF293}"/>
              </a:ext>
            </a:extLst>
          </p:cNvPr>
          <p:cNvSpPr/>
          <p:nvPr/>
        </p:nvSpPr>
        <p:spPr>
          <a:xfrm>
            <a:off x="377111" y="4264422"/>
            <a:ext cx="1409856" cy="233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300"/>
              </a:spcAft>
            </a:pPr>
            <a:r>
              <a:rPr lang="ru-RU" sz="9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сточник: оценка ЭОС</a:t>
            </a:r>
            <a:endParaRPr lang="ru-RU" sz="13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14" name="Gruppieren 264">
            <a:extLst>
              <a:ext uri="{FF2B5EF4-FFF2-40B4-BE49-F238E27FC236}">
                <a16:creationId xmlns:a16="http://schemas.microsoft.com/office/drawing/2014/main" id="{C021DC04-7C63-40AA-9778-CA7804EDF1A1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361951" y="158752"/>
            <a:ext cx="501650" cy="144463"/>
            <a:chOff x="362156" y="138976"/>
            <a:chExt cx="501432" cy="144000"/>
          </a:xfrm>
        </p:grpSpPr>
        <p:sp>
          <p:nvSpPr>
            <p:cNvPr id="16" name="Rechteck 6">
              <a:extLst>
                <a:ext uri="{FF2B5EF4-FFF2-40B4-BE49-F238E27FC236}">
                  <a16:creationId xmlns:a16="http://schemas.microsoft.com/office/drawing/2014/main" id="{E6089CDD-4BC5-4FC6-AEFC-0107E8B7145F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 bwMode="gray">
            <a:xfrm>
              <a:off x="539879" y="138976"/>
              <a:ext cx="144400" cy="144000"/>
            </a:xfrm>
            <a:prstGeom prst="rect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2400" dirty="0"/>
            </a:p>
          </p:txBody>
        </p:sp>
        <p:sp>
          <p:nvSpPr>
            <p:cNvPr id="17" name="Rechteck 7">
              <a:extLst>
                <a:ext uri="{FF2B5EF4-FFF2-40B4-BE49-F238E27FC236}">
                  <a16:creationId xmlns:a16="http://schemas.microsoft.com/office/drawing/2014/main" id="{718E1AE4-2804-41DB-8E28-2A1F9AA75468}"/>
                </a:ext>
              </a:extLst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 bwMode="gray">
            <a:xfrm>
              <a:off x="719189" y="138976"/>
              <a:ext cx="144399" cy="144000"/>
            </a:xfrm>
            <a:prstGeom prst="rect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2400" dirty="0"/>
            </a:p>
          </p:txBody>
        </p:sp>
        <p:sp>
          <p:nvSpPr>
            <p:cNvPr id="18" name="Rechteck 8">
              <a:extLst>
                <a:ext uri="{FF2B5EF4-FFF2-40B4-BE49-F238E27FC236}">
                  <a16:creationId xmlns:a16="http://schemas.microsoft.com/office/drawing/2014/main" id="{2CE372C2-BDA1-4784-944B-E9B9A6CEC9EE}"/>
                </a:ext>
              </a:extLst>
            </p:cNvPr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gray">
            <a:xfrm>
              <a:off x="362156" y="138976"/>
              <a:ext cx="144400" cy="144000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2400" dirty="0"/>
            </a:p>
          </p:txBody>
        </p:sp>
      </p:grp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AE135E24-B7A9-4DEF-8D00-11C5A1CA20DA}"/>
              </a:ext>
            </a:extLst>
          </p:cNvPr>
          <p:cNvSpPr/>
          <p:nvPr/>
        </p:nvSpPr>
        <p:spPr>
          <a:xfrm>
            <a:off x="884123" y="92755"/>
            <a:ext cx="125832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573074" algn="l"/>
              </a:tabLst>
            </a:pPr>
            <a:r>
              <a:rPr lang="de-DE" altLang="de-DE" sz="1200" dirty="0">
                <a:solidFill>
                  <a:schemeClr val="bg2"/>
                </a:solidFill>
                <a:latin typeface="Arial" charset="0"/>
                <a:cs typeface="Arial" charset="0"/>
              </a:rPr>
              <a:t>EOS Russia</a:t>
            </a:r>
          </a:p>
        </p:txBody>
      </p:sp>
      <p:sp>
        <p:nvSpPr>
          <p:cNvPr id="27" name="Titel 3">
            <a:extLst>
              <a:ext uri="{FF2B5EF4-FFF2-40B4-BE49-F238E27FC236}">
                <a16:creationId xmlns:a16="http://schemas.microsoft.com/office/drawing/2014/main" id="{09A11900-D6ED-4C70-88FD-A1CA33E22986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58775" y="377825"/>
            <a:ext cx="8423275" cy="30777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sz="2000" kern="0" dirty="0">
                <a:solidFill>
                  <a:schemeClr val="accent2"/>
                </a:solidFill>
              </a:rPr>
              <a:t>Доля судебного сегмента в структуре приобретаемого портфеля КА </a:t>
            </a:r>
          </a:p>
        </p:txBody>
      </p:sp>
      <p:sp>
        <p:nvSpPr>
          <p:cNvPr id="28" name="Fußzeilenplatzhalter 265">
            <a:extLst>
              <a:ext uri="{FF2B5EF4-FFF2-40B4-BE49-F238E27FC236}">
                <a16:creationId xmlns:a16="http://schemas.microsoft.com/office/drawing/2014/main" id="{830B4FF9-4AB9-49B1-8047-B4E429BC920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auto">
          <a:xfrm>
            <a:off x="729762" y="4880784"/>
            <a:ext cx="7199801" cy="123111"/>
          </a:xfrm>
          <a:ln>
            <a:miter lim="800000"/>
            <a:headEnd/>
            <a:tailEnd/>
          </a:ln>
        </p:spPr>
        <p:txBody>
          <a:bodyPr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/>
              <a:t>EOS Group – For a debt-free world © EOS</a:t>
            </a:r>
            <a:endParaRPr lang="de-DE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F2D627DF-FE1E-4545-BA73-BA186F6B07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391D8CE9-C67E-425B-A3B0-F5CBCB7FB14C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DB4201EB-2F3E-4494-8C5A-CBA7F99AA03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54097172"/>
              </p:ext>
            </p:extLst>
          </p:nvPr>
        </p:nvGraphicFramePr>
        <p:xfrm>
          <a:off x="350679" y="1095745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329348D0-CB4C-48A6-A6D8-6815989BB5F6}"/>
              </a:ext>
            </a:extLst>
          </p:cNvPr>
          <p:cNvSpPr txBox="1"/>
          <p:nvPr/>
        </p:nvSpPr>
        <p:spPr>
          <a:xfrm>
            <a:off x="5060284" y="1109107"/>
            <a:ext cx="3744416" cy="32932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b="0" i="0" dirty="0">
                <a:solidFill>
                  <a:srgbClr val="333333"/>
                </a:solidFill>
                <a:effectLst/>
              </a:rPr>
              <a:t>За период 2016 – 2020 г. </a:t>
            </a:r>
            <a:r>
              <a:rPr lang="ru-RU" sz="1400" dirty="0">
                <a:solidFill>
                  <a:srgbClr val="333333"/>
                </a:solidFill>
              </a:rPr>
              <a:t>доля судебного сегмента </a:t>
            </a:r>
          </a:p>
          <a:p>
            <a:r>
              <a:rPr lang="ru-RU" sz="1400" dirty="0">
                <a:solidFill>
                  <a:srgbClr val="333333"/>
                </a:solidFill>
              </a:rPr>
              <a:t>(замена сторон во вновь купленных портфеля, полученные приказы и судебные решения) </a:t>
            </a:r>
          </a:p>
          <a:p>
            <a:r>
              <a:rPr lang="ru-RU" sz="1400" dirty="0">
                <a:solidFill>
                  <a:srgbClr val="333333"/>
                </a:solidFill>
              </a:rPr>
              <a:t>выросла до </a:t>
            </a:r>
            <a:r>
              <a:rPr lang="ru-RU" b="1" dirty="0">
                <a:solidFill>
                  <a:schemeClr val="bg2"/>
                </a:solidFill>
              </a:rPr>
              <a:t>76%</a:t>
            </a:r>
            <a:r>
              <a:rPr lang="ru-RU" sz="1400" dirty="0">
                <a:solidFill>
                  <a:srgbClr val="333333"/>
                </a:solidFill>
              </a:rPr>
              <a:t> в 2019 г., </a:t>
            </a:r>
          </a:p>
          <a:p>
            <a:r>
              <a:rPr lang="ru-RU" sz="1400" dirty="0">
                <a:solidFill>
                  <a:srgbClr val="333333"/>
                </a:solidFill>
              </a:rPr>
              <a:t>показатель 2020 г. зафиксирован на уровне </a:t>
            </a:r>
            <a:r>
              <a:rPr lang="ru-RU" b="1" dirty="0">
                <a:solidFill>
                  <a:schemeClr val="bg2"/>
                </a:solidFill>
              </a:rPr>
              <a:t>65%</a:t>
            </a:r>
            <a:r>
              <a:rPr lang="ru-RU" sz="1400" dirty="0">
                <a:solidFill>
                  <a:srgbClr val="333333"/>
                </a:solidFill>
              </a:rPr>
              <a:t>, что обусловлено фактором пандемии и ограничений, связанных с локдауном. Тенденция роста судебного сегмента во вновь приобретаемых портфелях будет однозначно усиливаться и по итогам 2021 г. может достигнуть </a:t>
            </a:r>
            <a:r>
              <a:rPr lang="ru-RU" b="1" dirty="0">
                <a:solidFill>
                  <a:schemeClr val="bg2"/>
                </a:solidFill>
              </a:rPr>
              <a:t>80%</a:t>
            </a:r>
            <a:endParaRPr lang="ru-RU" b="1" i="0" dirty="0">
              <a:solidFill>
                <a:schemeClr val="bg2"/>
              </a:solidFill>
              <a:effectLst/>
            </a:endParaRPr>
          </a:p>
          <a:p>
            <a:endParaRPr lang="ru-RU" sz="1400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2291775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2B0AF1A-2CF5-4B9E-8DD6-7933B8FCF293}"/>
              </a:ext>
            </a:extLst>
          </p:cNvPr>
          <p:cNvSpPr/>
          <p:nvPr/>
        </p:nvSpPr>
        <p:spPr>
          <a:xfrm>
            <a:off x="251520" y="4271847"/>
            <a:ext cx="1409856" cy="233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300"/>
              </a:spcAft>
            </a:pPr>
            <a:r>
              <a:rPr lang="ru-RU" sz="9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сточник: оценка ЭОС</a:t>
            </a:r>
            <a:endParaRPr lang="ru-RU" sz="135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14" name="Gruppieren 264">
            <a:extLst>
              <a:ext uri="{FF2B5EF4-FFF2-40B4-BE49-F238E27FC236}">
                <a16:creationId xmlns:a16="http://schemas.microsoft.com/office/drawing/2014/main" id="{C021DC04-7C63-40AA-9778-CA7804EDF1A1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361951" y="158752"/>
            <a:ext cx="501650" cy="144463"/>
            <a:chOff x="362156" y="138976"/>
            <a:chExt cx="501432" cy="144000"/>
          </a:xfrm>
        </p:grpSpPr>
        <p:sp>
          <p:nvSpPr>
            <p:cNvPr id="16" name="Rechteck 6">
              <a:extLst>
                <a:ext uri="{FF2B5EF4-FFF2-40B4-BE49-F238E27FC236}">
                  <a16:creationId xmlns:a16="http://schemas.microsoft.com/office/drawing/2014/main" id="{E6089CDD-4BC5-4FC6-AEFC-0107E8B7145F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 bwMode="gray">
            <a:xfrm>
              <a:off x="539879" y="138976"/>
              <a:ext cx="144400" cy="144000"/>
            </a:xfrm>
            <a:prstGeom prst="rect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2400" dirty="0"/>
            </a:p>
          </p:txBody>
        </p:sp>
        <p:sp>
          <p:nvSpPr>
            <p:cNvPr id="17" name="Rechteck 7">
              <a:extLst>
                <a:ext uri="{FF2B5EF4-FFF2-40B4-BE49-F238E27FC236}">
                  <a16:creationId xmlns:a16="http://schemas.microsoft.com/office/drawing/2014/main" id="{718E1AE4-2804-41DB-8E28-2A1F9AA75468}"/>
                </a:ext>
              </a:extLst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 bwMode="gray">
            <a:xfrm>
              <a:off x="719189" y="138976"/>
              <a:ext cx="144399" cy="144000"/>
            </a:xfrm>
            <a:prstGeom prst="rect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2400" dirty="0"/>
            </a:p>
          </p:txBody>
        </p:sp>
        <p:sp>
          <p:nvSpPr>
            <p:cNvPr id="18" name="Rechteck 8">
              <a:extLst>
                <a:ext uri="{FF2B5EF4-FFF2-40B4-BE49-F238E27FC236}">
                  <a16:creationId xmlns:a16="http://schemas.microsoft.com/office/drawing/2014/main" id="{2CE372C2-BDA1-4784-944B-E9B9A6CEC9EE}"/>
                </a:ext>
              </a:extLst>
            </p:cNvPr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gray">
            <a:xfrm>
              <a:off x="362156" y="138976"/>
              <a:ext cx="144400" cy="144000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2400" dirty="0"/>
            </a:p>
          </p:txBody>
        </p:sp>
      </p:grp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AE135E24-B7A9-4DEF-8D00-11C5A1CA20DA}"/>
              </a:ext>
            </a:extLst>
          </p:cNvPr>
          <p:cNvSpPr/>
          <p:nvPr/>
        </p:nvSpPr>
        <p:spPr>
          <a:xfrm>
            <a:off x="884123" y="92755"/>
            <a:ext cx="125832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573074" algn="l"/>
              </a:tabLst>
            </a:pPr>
            <a:r>
              <a:rPr lang="de-DE" altLang="de-DE" sz="1200" dirty="0">
                <a:solidFill>
                  <a:schemeClr val="bg2"/>
                </a:solidFill>
                <a:latin typeface="Arial" charset="0"/>
                <a:cs typeface="Arial" charset="0"/>
              </a:rPr>
              <a:t>EOS Russia</a:t>
            </a:r>
          </a:p>
        </p:txBody>
      </p:sp>
      <p:sp>
        <p:nvSpPr>
          <p:cNvPr id="27" name="Titel 3">
            <a:extLst>
              <a:ext uri="{FF2B5EF4-FFF2-40B4-BE49-F238E27FC236}">
                <a16:creationId xmlns:a16="http://schemas.microsoft.com/office/drawing/2014/main" id="{09A11900-D6ED-4C70-88FD-A1CA33E22986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58775" y="377825"/>
            <a:ext cx="8423275" cy="615553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sz="2000" kern="0" dirty="0">
                <a:solidFill>
                  <a:schemeClr val="accent2"/>
                </a:solidFill>
              </a:rPr>
              <a:t>Оцениваемый объем действующих исполнительных производств в структуре рабочего портфеля КА </a:t>
            </a:r>
          </a:p>
        </p:txBody>
      </p:sp>
      <p:sp>
        <p:nvSpPr>
          <p:cNvPr id="28" name="Fußzeilenplatzhalter 265">
            <a:extLst>
              <a:ext uri="{FF2B5EF4-FFF2-40B4-BE49-F238E27FC236}">
                <a16:creationId xmlns:a16="http://schemas.microsoft.com/office/drawing/2014/main" id="{830B4FF9-4AB9-49B1-8047-B4E429BC920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auto">
          <a:xfrm>
            <a:off x="729762" y="4880784"/>
            <a:ext cx="7199801" cy="123111"/>
          </a:xfrm>
          <a:ln>
            <a:miter lim="800000"/>
            <a:headEnd/>
            <a:tailEnd/>
          </a:ln>
        </p:spPr>
        <p:txBody>
          <a:bodyPr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/>
              <a:t>EOS Group – For a debt-free world © EOS</a:t>
            </a:r>
            <a:endParaRPr lang="de-DE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F2D627DF-FE1E-4545-BA73-BA186F6B07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391D8CE9-C67E-425B-A3B0-F5CBCB7FB14C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5E73DFCB-3A43-453E-A423-363F106C8D0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3245469"/>
              </p:ext>
            </p:extLst>
          </p:nvPr>
        </p:nvGraphicFramePr>
        <p:xfrm>
          <a:off x="253296" y="1261012"/>
          <a:ext cx="4456816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97F8E69C-24AD-4FC5-9721-996286AA0C5A}"/>
              </a:ext>
            </a:extLst>
          </p:cNvPr>
          <p:cNvSpPr txBox="1"/>
          <p:nvPr/>
        </p:nvSpPr>
        <p:spPr>
          <a:xfrm>
            <a:off x="3203848" y="1203598"/>
            <a:ext cx="266429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bg2"/>
                </a:solidFill>
              </a:rPr>
              <a:t>37%</a:t>
            </a:r>
            <a:r>
              <a:rPr lang="ru-RU" dirty="0"/>
              <a:t> от общего </a:t>
            </a:r>
          </a:p>
          <a:p>
            <a:r>
              <a:rPr lang="ru-RU" dirty="0"/>
              <a:t>кол-ва кейсов в работе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1E8808F-3F13-448D-A3B0-43B29DB6CF5E}"/>
              </a:ext>
            </a:extLst>
          </p:cNvPr>
          <p:cNvSpPr txBox="1"/>
          <p:nvPr/>
        </p:nvSpPr>
        <p:spPr>
          <a:xfrm>
            <a:off x="5037634" y="1923678"/>
            <a:ext cx="3744416" cy="2369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ru-RU" sz="1400" dirty="0">
              <a:solidFill>
                <a:srgbClr val="333333"/>
              </a:solidFill>
            </a:endParaRPr>
          </a:p>
          <a:p>
            <a:r>
              <a:rPr lang="ru-RU" sz="1400" b="0" i="0" dirty="0">
                <a:solidFill>
                  <a:srgbClr val="333333"/>
                </a:solidFill>
                <a:effectLst/>
              </a:rPr>
              <a:t>На текущий момент доля кейсов на стадии исполнительного производства оценивается на уровне 37% от общего количества кейсов в работе КА </a:t>
            </a:r>
          </a:p>
          <a:p>
            <a:endParaRPr lang="ru-RU" sz="1400" dirty="0">
              <a:solidFill>
                <a:srgbClr val="333333"/>
              </a:solidFill>
            </a:endParaRPr>
          </a:p>
          <a:p>
            <a:r>
              <a:rPr lang="ru-RU" b="1" dirty="0">
                <a:solidFill>
                  <a:schemeClr val="bg2"/>
                </a:solidFill>
              </a:rPr>
              <a:t>2,96</a:t>
            </a:r>
            <a:r>
              <a:rPr lang="ru-RU" sz="1400" b="0" i="0" dirty="0">
                <a:solidFill>
                  <a:srgbClr val="333333"/>
                </a:solidFill>
                <a:effectLst/>
              </a:rPr>
              <a:t> </a:t>
            </a:r>
            <a:r>
              <a:rPr lang="ru-RU" sz="1400" b="1" i="0" dirty="0">
                <a:solidFill>
                  <a:schemeClr val="bg2"/>
                </a:solidFill>
                <a:effectLst/>
              </a:rPr>
              <a:t>млн</a:t>
            </a:r>
            <a:r>
              <a:rPr lang="ru-RU" sz="1400" b="0" i="0" dirty="0">
                <a:solidFill>
                  <a:srgbClr val="333333"/>
                </a:solidFill>
                <a:effectLst/>
              </a:rPr>
              <a:t> кейсов на сумму </a:t>
            </a:r>
          </a:p>
          <a:p>
            <a:r>
              <a:rPr lang="ru-RU" b="1" dirty="0">
                <a:solidFill>
                  <a:schemeClr val="bg2"/>
                </a:solidFill>
              </a:rPr>
              <a:t>503</a:t>
            </a:r>
            <a:r>
              <a:rPr lang="ru-RU" b="1" i="0" dirty="0">
                <a:solidFill>
                  <a:schemeClr val="bg2"/>
                </a:solidFill>
                <a:effectLst/>
              </a:rPr>
              <a:t> </a:t>
            </a:r>
            <a:r>
              <a:rPr lang="ru-RU" sz="1400" b="1" dirty="0">
                <a:solidFill>
                  <a:schemeClr val="bg2"/>
                </a:solidFill>
              </a:rPr>
              <a:t>млрд</a:t>
            </a:r>
            <a:r>
              <a:rPr lang="ru-RU" sz="1400" b="0" i="0" dirty="0">
                <a:solidFill>
                  <a:srgbClr val="333333"/>
                </a:solidFill>
                <a:effectLst/>
              </a:rPr>
              <a:t> рублей</a:t>
            </a:r>
          </a:p>
          <a:p>
            <a:endParaRPr lang="ru-RU" sz="1400" b="0" i="0" dirty="0">
              <a:solidFill>
                <a:srgbClr val="333333"/>
              </a:solidFill>
              <a:effectLst/>
            </a:endParaRPr>
          </a:p>
          <a:p>
            <a:endParaRPr lang="ru-RU" sz="1400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873753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ieren 264">
            <a:extLst>
              <a:ext uri="{FF2B5EF4-FFF2-40B4-BE49-F238E27FC236}">
                <a16:creationId xmlns:a16="http://schemas.microsoft.com/office/drawing/2014/main" id="{C021DC04-7C63-40AA-9778-CA7804EDF1A1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361951" y="158752"/>
            <a:ext cx="501650" cy="144463"/>
            <a:chOff x="362156" y="138976"/>
            <a:chExt cx="501432" cy="144000"/>
          </a:xfrm>
        </p:grpSpPr>
        <p:sp>
          <p:nvSpPr>
            <p:cNvPr id="16" name="Rechteck 6">
              <a:extLst>
                <a:ext uri="{FF2B5EF4-FFF2-40B4-BE49-F238E27FC236}">
                  <a16:creationId xmlns:a16="http://schemas.microsoft.com/office/drawing/2014/main" id="{E6089CDD-4BC5-4FC6-AEFC-0107E8B7145F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 bwMode="gray">
            <a:xfrm>
              <a:off x="539879" y="138976"/>
              <a:ext cx="144400" cy="144000"/>
            </a:xfrm>
            <a:prstGeom prst="rect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2400" dirty="0"/>
            </a:p>
          </p:txBody>
        </p:sp>
        <p:sp>
          <p:nvSpPr>
            <p:cNvPr id="17" name="Rechteck 7">
              <a:extLst>
                <a:ext uri="{FF2B5EF4-FFF2-40B4-BE49-F238E27FC236}">
                  <a16:creationId xmlns:a16="http://schemas.microsoft.com/office/drawing/2014/main" id="{718E1AE4-2804-41DB-8E28-2A1F9AA75468}"/>
                </a:ext>
              </a:extLst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 bwMode="gray">
            <a:xfrm>
              <a:off x="719189" y="138976"/>
              <a:ext cx="144399" cy="144000"/>
            </a:xfrm>
            <a:prstGeom prst="rect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2400" dirty="0"/>
            </a:p>
          </p:txBody>
        </p:sp>
        <p:sp>
          <p:nvSpPr>
            <p:cNvPr id="18" name="Rechteck 8">
              <a:extLst>
                <a:ext uri="{FF2B5EF4-FFF2-40B4-BE49-F238E27FC236}">
                  <a16:creationId xmlns:a16="http://schemas.microsoft.com/office/drawing/2014/main" id="{2CE372C2-BDA1-4784-944B-E9B9A6CEC9EE}"/>
                </a:ext>
              </a:extLst>
            </p:cNvPr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gray">
            <a:xfrm>
              <a:off x="362156" y="138976"/>
              <a:ext cx="144400" cy="144000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2400" dirty="0"/>
            </a:p>
          </p:txBody>
        </p:sp>
      </p:grp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AE135E24-B7A9-4DEF-8D00-11C5A1CA20DA}"/>
              </a:ext>
            </a:extLst>
          </p:cNvPr>
          <p:cNvSpPr/>
          <p:nvPr/>
        </p:nvSpPr>
        <p:spPr>
          <a:xfrm>
            <a:off x="884123" y="92755"/>
            <a:ext cx="125832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573074" algn="l"/>
              </a:tabLst>
            </a:pPr>
            <a:r>
              <a:rPr lang="de-DE" altLang="de-DE" sz="1200" dirty="0">
                <a:solidFill>
                  <a:schemeClr val="bg2"/>
                </a:solidFill>
                <a:latin typeface="Arial" charset="0"/>
                <a:cs typeface="Arial" charset="0"/>
              </a:rPr>
              <a:t>EOS Russia</a:t>
            </a:r>
          </a:p>
        </p:txBody>
      </p:sp>
      <p:sp>
        <p:nvSpPr>
          <p:cNvPr id="27" name="Titel 3">
            <a:extLst>
              <a:ext uri="{FF2B5EF4-FFF2-40B4-BE49-F238E27FC236}">
                <a16:creationId xmlns:a16="http://schemas.microsoft.com/office/drawing/2014/main" id="{09A11900-D6ED-4C70-88FD-A1CA33E22986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58775" y="377825"/>
            <a:ext cx="8423275" cy="30777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sz="2000" kern="0" dirty="0">
                <a:solidFill>
                  <a:schemeClr val="accent2"/>
                </a:solidFill>
              </a:rPr>
              <a:t>Потенциал роста судебного сегмента в структуре портфеля в 2021 г. </a:t>
            </a:r>
          </a:p>
        </p:txBody>
      </p:sp>
      <p:sp>
        <p:nvSpPr>
          <p:cNvPr id="28" name="Fußzeilenplatzhalter 265">
            <a:extLst>
              <a:ext uri="{FF2B5EF4-FFF2-40B4-BE49-F238E27FC236}">
                <a16:creationId xmlns:a16="http://schemas.microsoft.com/office/drawing/2014/main" id="{830B4FF9-4AB9-49B1-8047-B4E429BC920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auto">
          <a:xfrm>
            <a:off x="729762" y="4880784"/>
            <a:ext cx="7199801" cy="123111"/>
          </a:xfrm>
          <a:ln>
            <a:miter lim="800000"/>
            <a:headEnd/>
            <a:tailEnd/>
          </a:ln>
        </p:spPr>
        <p:txBody>
          <a:bodyPr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/>
              <a:t>EOS Group – For a debt-free world © EOS</a:t>
            </a:r>
            <a:endParaRPr lang="de-DE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F2D627DF-FE1E-4545-BA73-BA186F6B07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391D8CE9-C67E-425B-A3B0-F5CBCB7FB14C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30" name="Rectangle 3">
            <a:extLst>
              <a:ext uri="{FF2B5EF4-FFF2-40B4-BE49-F238E27FC236}">
                <a16:creationId xmlns:a16="http://schemas.microsoft.com/office/drawing/2014/main" id="{D64A918E-347B-49B8-AD2E-BA39AC4EA634}"/>
              </a:ext>
            </a:extLst>
          </p:cNvPr>
          <p:cNvSpPr>
            <a:spLocks/>
          </p:cNvSpPr>
          <p:nvPr/>
        </p:nvSpPr>
        <p:spPr bwMode="auto">
          <a:xfrm>
            <a:off x="853006" y="2161026"/>
            <a:ext cx="1731009" cy="6565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lIns="50800" tIns="50800" rIns="50800" bIns="50800" anchor="ctr">
            <a:spAutoFit/>
          </a:bodyPr>
          <a:lstStyle/>
          <a:p>
            <a:pPr algn="ctr" eaLnBrk="1">
              <a:defRPr/>
            </a:pPr>
            <a:r>
              <a:rPr lang="ru-RU" altLang="en-US" sz="1200" b="1" dirty="0">
                <a:solidFill>
                  <a:srgbClr val="1A2224"/>
                </a:solidFill>
                <a:ea typeface="Roboto Condensed" panose="02000000000000000000" pitchFamily="2" charset="0"/>
              </a:rPr>
              <a:t>ОБЩАЯ ДОЛЯ ИСПОЛНИТЕЛЬНЫХ ПРОИЗВОДСТВ</a:t>
            </a:r>
            <a:endParaRPr lang="en-US" altLang="en-US" sz="1200" b="1" baseline="0" dirty="0">
              <a:solidFill>
                <a:srgbClr val="1A2224"/>
              </a:solidFill>
              <a:latin typeface="+mn-lt"/>
              <a:ea typeface="Roboto Condensed" panose="02000000000000000000" pitchFamily="2" charset="0"/>
            </a:endParaRPr>
          </a:p>
        </p:txBody>
      </p:sp>
      <p:sp>
        <p:nvSpPr>
          <p:cNvPr id="31" name="Rectangle 7">
            <a:extLst>
              <a:ext uri="{FF2B5EF4-FFF2-40B4-BE49-F238E27FC236}">
                <a16:creationId xmlns:a16="http://schemas.microsoft.com/office/drawing/2014/main" id="{724BB492-4A15-403C-9C41-BC0BBC8EAC8D}"/>
              </a:ext>
            </a:extLst>
          </p:cNvPr>
          <p:cNvSpPr>
            <a:spLocks/>
          </p:cNvSpPr>
          <p:nvPr/>
        </p:nvSpPr>
        <p:spPr bwMode="auto">
          <a:xfrm>
            <a:off x="539751" y="2892477"/>
            <a:ext cx="2471104" cy="9922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50800" tIns="50800" rIns="50800" bIns="50800"/>
          <a:lstStyle/>
          <a:p>
            <a:pPr eaLnBrk="1">
              <a:defRPr/>
            </a:pPr>
            <a:r>
              <a:rPr lang="ru-RU" altLang="en-US" sz="1200" dirty="0">
                <a:ea typeface="Roboto Condensed" panose="02000000000000000000" pitchFamily="2" charset="0"/>
              </a:rPr>
              <a:t>Общая доля исполнительных производств в работе КА по итогам 2021 г. достигнет </a:t>
            </a:r>
            <a:r>
              <a:rPr lang="ru-RU" altLang="en-US" b="1" dirty="0">
                <a:solidFill>
                  <a:schemeClr val="bg2"/>
                </a:solidFill>
                <a:ea typeface="Roboto Condensed" panose="02000000000000000000" pitchFamily="2" charset="0"/>
              </a:rPr>
              <a:t>47%</a:t>
            </a:r>
            <a:r>
              <a:rPr lang="ru-RU" altLang="en-US" sz="1200" dirty="0">
                <a:ea typeface="Roboto Condensed" panose="02000000000000000000" pitchFamily="2" charset="0"/>
              </a:rPr>
              <a:t> - </a:t>
            </a:r>
            <a:r>
              <a:rPr lang="ru-RU" altLang="en-US" b="1" dirty="0">
                <a:solidFill>
                  <a:schemeClr val="bg2"/>
                </a:solidFill>
                <a:ea typeface="Roboto Condensed" panose="02000000000000000000" pitchFamily="2" charset="0"/>
              </a:rPr>
              <a:t>4,3 млн. </a:t>
            </a:r>
            <a:r>
              <a:rPr lang="ru-RU" altLang="en-US" sz="1200" dirty="0">
                <a:ea typeface="Roboto Condensed" panose="02000000000000000000" pitchFamily="2" charset="0"/>
              </a:rPr>
              <a:t>кейсов</a:t>
            </a:r>
          </a:p>
          <a:p>
            <a:pPr eaLnBrk="1">
              <a:defRPr/>
            </a:pPr>
            <a:endParaRPr lang="en-US" altLang="en-US" sz="1200" dirty="0">
              <a:latin typeface="+mn-lt"/>
              <a:ea typeface="Roboto Condensed" panose="02000000000000000000" pitchFamily="2" charset="0"/>
            </a:endParaRPr>
          </a:p>
        </p:txBody>
      </p:sp>
      <p:sp>
        <p:nvSpPr>
          <p:cNvPr id="32" name="Line 8">
            <a:extLst>
              <a:ext uri="{FF2B5EF4-FFF2-40B4-BE49-F238E27FC236}">
                <a16:creationId xmlns:a16="http://schemas.microsoft.com/office/drawing/2014/main" id="{8CAD7F33-EA3A-470A-9BE1-FC299212BA66}"/>
              </a:ext>
            </a:extLst>
          </p:cNvPr>
          <p:cNvSpPr>
            <a:spLocks noChangeShapeType="1"/>
          </p:cNvSpPr>
          <p:nvPr/>
        </p:nvSpPr>
        <p:spPr bwMode="auto">
          <a:xfrm>
            <a:off x="611982" y="1932279"/>
            <a:ext cx="2431055" cy="0"/>
          </a:xfrm>
          <a:prstGeom prst="line">
            <a:avLst/>
          </a:prstGeom>
          <a:noFill/>
          <a:ln w="50800" cap="flat" cmpd="sng">
            <a:solidFill>
              <a:srgbClr val="9D9D9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pPr algn="ctr" eaLnBrk="1">
              <a:defRPr/>
            </a:pPr>
            <a:endParaRPr lang="en-US" altLang="en-US" sz="1200" baseline="0">
              <a:solidFill>
                <a:srgbClr val="000000"/>
              </a:solidFill>
              <a:latin typeface="Helvetica Light" charset="0"/>
              <a:ea typeface="Helvetica Light" charset="0"/>
              <a:cs typeface="Helvetica Light" charset="0"/>
              <a:sym typeface="Helvetica Light" charset="0"/>
            </a:endParaRPr>
          </a:p>
        </p:txBody>
      </p:sp>
      <p:sp>
        <p:nvSpPr>
          <p:cNvPr id="33" name="Rectangle 9">
            <a:extLst>
              <a:ext uri="{FF2B5EF4-FFF2-40B4-BE49-F238E27FC236}">
                <a16:creationId xmlns:a16="http://schemas.microsoft.com/office/drawing/2014/main" id="{D9A8BCB7-B1FD-47BE-B958-0700B1BEE3DE}"/>
              </a:ext>
            </a:extLst>
          </p:cNvPr>
          <p:cNvSpPr>
            <a:spLocks/>
          </p:cNvSpPr>
          <p:nvPr/>
        </p:nvSpPr>
        <p:spPr bwMode="auto">
          <a:xfrm>
            <a:off x="689995" y="1304544"/>
            <a:ext cx="2304057" cy="4473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lIns="50800" tIns="50800" rIns="50800" bIns="50800" anchor="ctr">
            <a:spAutoFit/>
          </a:bodyPr>
          <a:lstStyle/>
          <a:p>
            <a:pPr algn="ctr" eaLnBrk="1">
              <a:lnSpc>
                <a:spcPct val="80000"/>
              </a:lnSpc>
              <a:defRPr/>
            </a:pPr>
            <a:r>
              <a:rPr lang="ru-RU" altLang="en-US" sz="2800" b="1" dirty="0">
                <a:solidFill>
                  <a:srgbClr val="605E60"/>
                </a:solidFill>
                <a:latin typeface="+mj-lt"/>
                <a:ea typeface="Roboto Condensed" panose="02000000000000000000" pitchFamily="2" charset="0"/>
              </a:rPr>
              <a:t>47%</a:t>
            </a:r>
            <a:endParaRPr lang="ru-RU" altLang="en-US" sz="2800" b="1" baseline="0" dirty="0">
              <a:solidFill>
                <a:srgbClr val="605E60"/>
              </a:solidFill>
              <a:latin typeface="+mj-lt"/>
              <a:ea typeface="Roboto Condensed" panose="02000000000000000000" pitchFamily="2" charset="0"/>
            </a:endParaRPr>
          </a:p>
        </p:txBody>
      </p:sp>
      <p:sp>
        <p:nvSpPr>
          <p:cNvPr id="35" name="Rectangle 9">
            <a:extLst>
              <a:ext uri="{FF2B5EF4-FFF2-40B4-BE49-F238E27FC236}">
                <a16:creationId xmlns:a16="http://schemas.microsoft.com/office/drawing/2014/main" id="{447022A6-B630-4575-9DB9-5BB41290F173}"/>
              </a:ext>
            </a:extLst>
          </p:cNvPr>
          <p:cNvSpPr>
            <a:spLocks/>
          </p:cNvSpPr>
          <p:nvPr/>
        </p:nvSpPr>
        <p:spPr bwMode="auto">
          <a:xfrm>
            <a:off x="3635896" y="1304544"/>
            <a:ext cx="2304057" cy="4473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lIns="50800" tIns="50800" rIns="50800" bIns="50800" anchor="ctr">
            <a:spAutoFit/>
          </a:bodyPr>
          <a:lstStyle/>
          <a:p>
            <a:pPr algn="ctr" eaLnBrk="1">
              <a:lnSpc>
                <a:spcPct val="80000"/>
              </a:lnSpc>
              <a:defRPr/>
            </a:pPr>
            <a:r>
              <a:rPr lang="ru-RU" altLang="en-US" sz="2800" b="1" dirty="0">
                <a:solidFill>
                  <a:srgbClr val="605E60"/>
                </a:solidFill>
                <a:latin typeface="+mj-lt"/>
                <a:ea typeface="Roboto Condensed" panose="02000000000000000000" pitchFamily="2" charset="0"/>
              </a:rPr>
              <a:t>19%</a:t>
            </a:r>
            <a:endParaRPr lang="ru-RU" altLang="en-US" sz="2800" b="1" baseline="0" dirty="0">
              <a:solidFill>
                <a:srgbClr val="605E60"/>
              </a:solidFill>
              <a:latin typeface="+mj-lt"/>
              <a:ea typeface="Roboto Condensed" panose="02000000000000000000" pitchFamily="2" charset="0"/>
            </a:endParaRPr>
          </a:p>
        </p:txBody>
      </p:sp>
      <p:sp>
        <p:nvSpPr>
          <p:cNvPr id="36" name="Rectangle 9">
            <a:extLst>
              <a:ext uri="{FF2B5EF4-FFF2-40B4-BE49-F238E27FC236}">
                <a16:creationId xmlns:a16="http://schemas.microsoft.com/office/drawing/2014/main" id="{7E5A9DFC-0D10-42EB-9FB5-EC8B157B0C17}"/>
              </a:ext>
            </a:extLst>
          </p:cNvPr>
          <p:cNvSpPr>
            <a:spLocks/>
          </p:cNvSpPr>
          <p:nvPr/>
        </p:nvSpPr>
        <p:spPr bwMode="auto">
          <a:xfrm>
            <a:off x="6477993" y="1304544"/>
            <a:ext cx="2304057" cy="4473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lIns="50800" tIns="50800" rIns="50800" bIns="50800" anchor="ctr">
            <a:spAutoFit/>
          </a:bodyPr>
          <a:lstStyle/>
          <a:p>
            <a:pPr algn="ctr" eaLnBrk="1">
              <a:lnSpc>
                <a:spcPct val="80000"/>
              </a:lnSpc>
              <a:defRPr/>
            </a:pPr>
            <a:r>
              <a:rPr lang="ru-RU" altLang="en-US" sz="2800" b="1" dirty="0">
                <a:solidFill>
                  <a:srgbClr val="605E60"/>
                </a:solidFill>
                <a:latin typeface="+mj-lt"/>
                <a:ea typeface="Roboto Condensed" panose="02000000000000000000" pitchFamily="2" charset="0"/>
              </a:rPr>
              <a:t>28%</a:t>
            </a:r>
            <a:endParaRPr lang="ru-RU" altLang="en-US" sz="2800" b="1" baseline="0" dirty="0">
              <a:solidFill>
                <a:srgbClr val="605E60"/>
              </a:solidFill>
              <a:latin typeface="+mj-lt"/>
              <a:ea typeface="Roboto Condensed" panose="02000000000000000000" pitchFamily="2" charset="0"/>
            </a:endParaRPr>
          </a:p>
        </p:txBody>
      </p:sp>
      <p:sp>
        <p:nvSpPr>
          <p:cNvPr id="37" name="Line 8">
            <a:extLst>
              <a:ext uri="{FF2B5EF4-FFF2-40B4-BE49-F238E27FC236}">
                <a16:creationId xmlns:a16="http://schemas.microsoft.com/office/drawing/2014/main" id="{4F036BF4-B55C-4FBA-B982-269D2ABC6F1F}"/>
              </a:ext>
            </a:extLst>
          </p:cNvPr>
          <p:cNvSpPr>
            <a:spLocks noChangeShapeType="1"/>
          </p:cNvSpPr>
          <p:nvPr/>
        </p:nvSpPr>
        <p:spPr bwMode="auto">
          <a:xfrm>
            <a:off x="3653113" y="1923678"/>
            <a:ext cx="2431055" cy="0"/>
          </a:xfrm>
          <a:prstGeom prst="line">
            <a:avLst/>
          </a:prstGeom>
          <a:noFill/>
          <a:ln w="50800" cap="flat" cmpd="sng">
            <a:solidFill>
              <a:srgbClr val="9D9D9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pPr algn="ctr" eaLnBrk="1">
              <a:defRPr/>
            </a:pPr>
            <a:endParaRPr lang="en-US" altLang="en-US" sz="1200" baseline="0">
              <a:solidFill>
                <a:srgbClr val="000000"/>
              </a:solidFill>
              <a:latin typeface="Helvetica Light" charset="0"/>
              <a:ea typeface="Helvetica Light" charset="0"/>
              <a:cs typeface="Helvetica Light" charset="0"/>
              <a:sym typeface="Helvetica Light" charset="0"/>
            </a:endParaRPr>
          </a:p>
        </p:txBody>
      </p:sp>
      <p:sp>
        <p:nvSpPr>
          <p:cNvPr id="38" name="Line 8">
            <a:extLst>
              <a:ext uri="{FF2B5EF4-FFF2-40B4-BE49-F238E27FC236}">
                <a16:creationId xmlns:a16="http://schemas.microsoft.com/office/drawing/2014/main" id="{E5A81161-2A86-4ACD-892A-41773292CC2B}"/>
              </a:ext>
            </a:extLst>
          </p:cNvPr>
          <p:cNvSpPr>
            <a:spLocks noChangeShapeType="1"/>
          </p:cNvSpPr>
          <p:nvPr/>
        </p:nvSpPr>
        <p:spPr bwMode="auto">
          <a:xfrm>
            <a:off x="6461425" y="1923678"/>
            <a:ext cx="2431055" cy="0"/>
          </a:xfrm>
          <a:prstGeom prst="line">
            <a:avLst/>
          </a:prstGeom>
          <a:noFill/>
          <a:ln w="50800" cap="flat" cmpd="sng">
            <a:solidFill>
              <a:srgbClr val="9D9D9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pPr algn="ctr" eaLnBrk="1">
              <a:defRPr/>
            </a:pPr>
            <a:endParaRPr lang="en-US" altLang="en-US" sz="1200" baseline="0">
              <a:solidFill>
                <a:srgbClr val="000000"/>
              </a:solidFill>
              <a:latin typeface="Helvetica Light" charset="0"/>
              <a:ea typeface="Helvetica Light" charset="0"/>
              <a:cs typeface="Helvetica Light" charset="0"/>
              <a:sym typeface="Helvetica Light" charset="0"/>
            </a:endParaRPr>
          </a:p>
        </p:txBody>
      </p:sp>
      <p:sp>
        <p:nvSpPr>
          <p:cNvPr id="39" name="Rectangle 3">
            <a:extLst>
              <a:ext uri="{FF2B5EF4-FFF2-40B4-BE49-F238E27FC236}">
                <a16:creationId xmlns:a16="http://schemas.microsoft.com/office/drawing/2014/main" id="{2BD02194-A97A-48BE-A343-BD8FF01F95EC}"/>
              </a:ext>
            </a:extLst>
          </p:cNvPr>
          <p:cNvSpPr>
            <a:spLocks/>
          </p:cNvSpPr>
          <p:nvPr/>
        </p:nvSpPr>
        <p:spPr bwMode="auto">
          <a:xfrm>
            <a:off x="3921111" y="2047369"/>
            <a:ext cx="1731009" cy="841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lIns="50800" tIns="50800" rIns="50800" bIns="50800" anchor="ctr">
            <a:spAutoFit/>
          </a:bodyPr>
          <a:lstStyle/>
          <a:p>
            <a:pPr algn="ctr" eaLnBrk="1">
              <a:defRPr/>
            </a:pPr>
            <a:r>
              <a:rPr lang="ru-RU" altLang="en-US" sz="1200" b="1" dirty="0">
                <a:solidFill>
                  <a:srgbClr val="1A2224"/>
                </a:solidFill>
                <a:ea typeface="Roboto Condensed" panose="02000000000000000000" pitchFamily="2" charset="0"/>
              </a:rPr>
              <a:t>ОБЩАЯ ДОЛЯ ИСПОЛНИТЕЛЬНЫХ ПРОИЗВОДСТВ</a:t>
            </a:r>
            <a:r>
              <a:rPr lang="en-US" altLang="en-US" sz="1200" b="1" dirty="0">
                <a:solidFill>
                  <a:srgbClr val="1A2224"/>
                </a:solidFill>
                <a:ea typeface="Roboto Condensed" panose="02000000000000000000" pitchFamily="2" charset="0"/>
              </a:rPr>
              <a:t> </a:t>
            </a:r>
            <a:r>
              <a:rPr lang="ru-RU" altLang="en-US" sz="1200" b="1" dirty="0">
                <a:solidFill>
                  <a:srgbClr val="1A2224"/>
                </a:solidFill>
                <a:ea typeface="Roboto Condensed" panose="02000000000000000000" pitchFamily="2" charset="0"/>
              </a:rPr>
              <a:t>ПО ЗАМЕНЕ СТОРОН</a:t>
            </a:r>
            <a:endParaRPr lang="en-US" altLang="en-US" sz="1200" b="1" baseline="0" dirty="0">
              <a:solidFill>
                <a:srgbClr val="1A2224"/>
              </a:solidFill>
              <a:latin typeface="+mn-lt"/>
              <a:ea typeface="Roboto Condensed" panose="02000000000000000000" pitchFamily="2" charset="0"/>
            </a:endParaRPr>
          </a:p>
        </p:txBody>
      </p:sp>
      <p:sp>
        <p:nvSpPr>
          <p:cNvPr id="40" name="Rectangle 3">
            <a:extLst>
              <a:ext uri="{FF2B5EF4-FFF2-40B4-BE49-F238E27FC236}">
                <a16:creationId xmlns:a16="http://schemas.microsoft.com/office/drawing/2014/main" id="{3015863A-BD45-484E-96AD-319181C07644}"/>
              </a:ext>
            </a:extLst>
          </p:cNvPr>
          <p:cNvSpPr>
            <a:spLocks/>
          </p:cNvSpPr>
          <p:nvPr/>
        </p:nvSpPr>
        <p:spPr bwMode="auto">
          <a:xfrm>
            <a:off x="6732240" y="1926193"/>
            <a:ext cx="1731009" cy="1025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lIns="50800" tIns="50800" rIns="50800" bIns="50800" anchor="ctr">
            <a:spAutoFit/>
          </a:bodyPr>
          <a:lstStyle/>
          <a:p>
            <a:pPr algn="ctr" eaLnBrk="1">
              <a:defRPr/>
            </a:pPr>
            <a:r>
              <a:rPr lang="ru-RU" altLang="en-US" sz="1200" b="1" dirty="0">
                <a:solidFill>
                  <a:srgbClr val="1A2224"/>
                </a:solidFill>
                <a:ea typeface="Roboto Condensed" panose="02000000000000000000" pitchFamily="2" charset="0"/>
              </a:rPr>
              <a:t>ОБЩАЯ ДОЛЯ ИСПОЛНИТЕЛЬНЫХ ПРОИЗВОДСТВ</a:t>
            </a:r>
            <a:r>
              <a:rPr lang="en-US" altLang="en-US" sz="1200" b="1" dirty="0">
                <a:solidFill>
                  <a:srgbClr val="1A2224"/>
                </a:solidFill>
                <a:ea typeface="Roboto Condensed" panose="02000000000000000000" pitchFamily="2" charset="0"/>
              </a:rPr>
              <a:t> </a:t>
            </a:r>
            <a:r>
              <a:rPr lang="ru-RU" altLang="en-US" sz="1200" b="1" dirty="0">
                <a:solidFill>
                  <a:srgbClr val="1A2224"/>
                </a:solidFill>
                <a:ea typeface="Roboto Condensed" panose="02000000000000000000" pitchFamily="2" charset="0"/>
              </a:rPr>
              <a:t>ПО ПРИКАЗНОМУ И ИСКОВОМУ ПРО-ВУ</a:t>
            </a:r>
            <a:endParaRPr lang="en-US" altLang="en-US" sz="1200" b="1" baseline="0" dirty="0">
              <a:solidFill>
                <a:srgbClr val="1A2224"/>
              </a:solidFill>
              <a:latin typeface="+mn-lt"/>
              <a:ea typeface="Roboto Condensed" panose="02000000000000000000" pitchFamily="2" charset="0"/>
            </a:endParaRPr>
          </a:p>
        </p:txBody>
      </p:sp>
      <p:sp>
        <p:nvSpPr>
          <p:cNvPr id="20" name="Rectangle 7">
            <a:extLst>
              <a:ext uri="{FF2B5EF4-FFF2-40B4-BE49-F238E27FC236}">
                <a16:creationId xmlns:a16="http://schemas.microsoft.com/office/drawing/2014/main" id="{86763CDA-56B6-42C3-B8BF-AE0B850D36A7}"/>
              </a:ext>
            </a:extLst>
          </p:cNvPr>
          <p:cNvSpPr>
            <a:spLocks/>
          </p:cNvSpPr>
          <p:nvPr/>
        </p:nvSpPr>
        <p:spPr bwMode="auto">
          <a:xfrm>
            <a:off x="3682424" y="2875739"/>
            <a:ext cx="2471104" cy="1136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50800" tIns="50800" rIns="50800" bIns="50800"/>
          <a:lstStyle/>
          <a:p>
            <a:pPr eaLnBrk="1">
              <a:defRPr/>
            </a:pPr>
            <a:r>
              <a:rPr lang="ru-RU" altLang="en-US" sz="1200" dirty="0">
                <a:ea typeface="Roboto Condensed" panose="02000000000000000000" pitchFamily="2" charset="0"/>
              </a:rPr>
              <a:t>Доля исполнительных производств в работе КА с заменой стороны итогам 2021 г. достигнет </a:t>
            </a:r>
            <a:r>
              <a:rPr lang="ru-RU" altLang="en-US" b="1" dirty="0">
                <a:solidFill>
                  <a:schemeClr val="bg2"/>
                </a:solidFill>
                <a:ea typeface="Roboto Condensed" panose="02000000000000000000" pitchFamily="2" charset="0"/>
              </a:rPr>
              <a:t>19%</a:t>
            </a:r>
            <a:r>
              <a:rPr lang="ru-RU" altLang="en-US" sz="1200" dirty="0">
                <a:ea typeface="Roboto Condensed" panose="02000000000000000000" pitchFamily="2" charset="0"/>
              </a:rPr>
              <a:t> - </a:t>
            </a:r>
            <a:r>
              <a:rPr lang="ru-RU" altLang="en-US" b="1" dirty="0">
                <a:solidFill>
                  <a:schemeClr val="bg2"/>
                </a:solidFill>
                <a:ea typeface="Roboto Condensed" panose="02000000000000000000" pitchFamily="2" charset="0"/>
              </a:rPr>
              <a:t>1,7 млн. </a:t>
            </a:r>
            <a:r>
              <a:rPr lang="ru-RU" altLang="en-US" sz="1200" dirty="0">
                <a:ea typeface="Roboto Condensed" panose="02000000000000000000" pitchFamily="2" charset="0"/>
              </a:rPr>
              <a:t>кейсов</a:t>
            </a:r>
          </a:p>
          <a:p>
            <a:pPr eaLnBrk="1">
              <a:defRPr/>
            </a:pPr>
            <a:endParaRPr lang="en-US" altLang="en-US" sz="1200" dirty="0">
              <a:latin typeface="+mn-lt"/>
              <a:ea typeface="Roboto Condensed" panose="02000000000000000000" pitchFamily="2" charset="0"/>
            </a:endParaRPr>
          </a:p>
        </p:txBody>
      </p:sp>
      <p:sp>
        <p:nvSpPr>
          <p:cNvPr id="21" name="Rectangle 7">
            <a:extLst>
              <a:ext uri="{FF2B5EF4-FFF2-40B4-BE49-F238E27FC236}">
                <a16:creationId xmlns:a16="http://schemas.microsoft.com/office/drawing/2014/main" id="{D6C63479-E03F-4FF1-A0A3-D668CD3E3F07}"/>
              </a:ext>
            </a:extLst>
          </p:cNvPr>
          <p:cNvSpPr>
            <a:spLocks/>
          </p:cNvSpPr>
          <p:nvPr/>
        </p:nvSpPr>
        <p:spPr bwMode="auto">
          <a:xfrm>
            <a:off x="6499836" y="2875739"/>
            <a:ext cx="2471104" cy="13521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50800" tIns="50800" rIns="50800" bIns="50800"/>
          <a:lstStyle/>
          <a:p>
            <a:pPr eaLnBrk="1">
              <a:defRPr/>
            </a:pPr>
            <a:r>
              <a:rPr lang="ru-RU" altLang="en-US" sz="1200" dirty="0">
                <a:ea typeface="Roboto Condensed" panose="02000000000000000000" pitchFamily="2" charset="0"/>
              </a:rPr>
              <a:t>Доля исполнительных производств в работе КА по приказному и исковому производству по итогам 2021 г. достигнет </a:t>
            </a:r>
            <a:r>
              <a:rPr lang="ru-RU" altLang="en-US" b="1" dirty="0">
                <a:solidFill>
                  <a:schemeClr val="bg2"/>
                </a:solidFill>
                <a:ea typeface="Roboto Condensed" panose="02000000000000000000" pitchFamily="2" charset="0"/>
              </a:rPr>
              <a:t>28%</a:t>
            </a:r>
            <a:r>
              <a:rPr lang="ru-RU" altLang="en-US" sz="1200" dirty="0">
                <a:ea typeface="Roboto Condensed" panose="02000000000000000000" pitchFamily="2" charset="0"/>
              </a:rPr>
              <a:t> - </a:t>
            </a:r>
            <a:r>
              <a:rPr lang="ru-RU" altLang="en-US" b="1" dirty="0">
                <a:solidFill>
                  <a:schemeClr val="bg2"/>
                </a:solidFill>
                <a:ea typeface="Roboto Condensed" panose="02000000000000000000" pitchFamily="2" charset="0"/>
              </a:rPr>
              <a:t>2,6 млн. </a:t>
            </a:r>
            <a:r>
              <a:rPr lang="ru-RU" altLang="en-US" sz="1200" dirty="0">
                <a:ea typeface="Roboto Condensed" panose="02000000000000000000" pitchFamily="2" charset="0"/>
              </a:rPr>
              <a:t>кейсов</a:t>
            </a:r>
          </a:p>
          <a:p>
            <a:pPr eaLnBrk="1">
              <a:defRPr/>
            </a:pPr>
            <a:endParaRPr lang="en-US" altLang="en-US" sz="1200" dirty="0">
              <a:latin typeface="+mn-lt"/>
              <a:ea typeface="Roboto Condensed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3904727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ieren 264">
            <a:extLst>
              <a:ext uri="{FF2B5EF4-FFF2-40B4-BE49-F238E27FC236}">
                <a16:creationId xmlns:a16="http://schemas.microsoft.com/office/drawing/2014/main" id="{C021DC04-7C63-40AA-9778-CA7804EDF1A1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361951" y="158752"/>
            <a:ext cx="501650" cy="144463"/>
            <a:chOff x="362156" y="138976"/>
            <a:chExt cx="501432" cy="144000"/>
          </a:xfrm>
        </p:grpSpPr>
        <p:sp>
          <p:nvSpPr>
            <p:cNvPr id="16" name="Rechteck 6">
              <a:extLst>
                <a:ext uri="{FF2B5EF4-FFF2-40B4-BE49-F238E27FC236}">
                  <a16:creationId xmlns:a16="http://schemas.microsoft.com/office/drawing/2014/main" id="{E6089CDD-4BC5-4FC6-AEFC-0107E8B7145F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 bwMode="gray">
            <a:xfrm>
              <a:off x="539879" y="138976"/>
              <a:ext cx="144400" cy="144000"/>
            </a:xfrm>
            <a:prstGeom prst="rect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2400" dirty="0"/>
            </a:p>
          </p:txBody>
        </p:sp>
        <p:sp>
          <p:nvSpPr>
            <p:cNvPr id="17" name="Rechteck 7">
              <a:extLst>
                <a:ext uri="{FF2B5EF4-FFF2-40B4-BE49-F238E27FC236}">
                  <a16:creationId xmlns:a16="http://schemas.microsoft.com/office/drawing/2014/main" id="{718E1AE4-2804-41DB-8E28-2A1F9AA75468}"/>
                </a:ext>
              </a:extLst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 bwMode="gray">
            <a:xfrm>
              <a:off x="719189" y="138976"/>
              <a:ext cx="144399" cy="144000"/>
            </a:xfrm>
            <a:prstGeom prst="rect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2400" dirty="0"/>
            </a:p>
          </p:txBody>
        </p:sp>
        <p:sp>
          <p:nvSpPr>
            <p:cNvPr id="18" name="Rechteck 8">
              <a:extLst>
                <a:ext uri="{FF2B5EF4-FFF2-40B4-BE49-F238E27FC236}">
                  <a16:creationId xmlns:a16="http://schemas.microsoft.com/office/drawing/2014/main" id="{2CE372C2-BDA1-4784-944B-E9B9A6CEC9EE}"/>
                </a:ext>
              </a:extLst>
            </p:cNvPr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gray">
            <a:xfrm>
              <a:off x="362156" y="138976"/>
              <a:ext cx="144400" cy="144000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2400" dirty="0"/>
            </a:p>
          </p:txBody>
        </p:sp>
      </p:grp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AE135E24-B7A9-4DEF-8D00-11C5A1CA20DA}"/>
              </a:ext>
            </a:extLst>
          </p:cNvPr>
          <p:cNvSpPr/>
          <p:nvPr/>
        </p:nvSpPr>
        <p:spPr>
          <a:xfrm>
            <a:off x="884123" y="92755"/>
            <a:ext cx="125832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573074" algn="l"/>
              </a:tabLst>
            </a:pPr>
            <a:r>
              <a:rPr lang="de-DE" altLang="de-DE" sz="1200" dirty="0">
                <a:solidFill>
                  <a:schemeClr val="bg2"/>
                </a:solidFill>
                <a:latin typeface="Arial" charset="0"/>
                <a:cs typeface="Arial" charset="0"/>
              </a:rPr>
              <a:t>EOS Russia</a:t>
            </a:r>
          </a:p>
        </p:txBody>
      </p:sp>
      <p:sp>
        <p:nvSpPr>
          <p:cNvPr id="27" name="Titel 3">
            <a:extLst>
              <a:ext uri="{FF2B5EF4-FFF2-40B4-BE49-F238E27FC236}">
                <a16:creationId xmlns:a16="http://schemas.microsoft.com/office/drawing/2014/main" id="{09A11900-D6ED-4C70-88FD-A1CA33E22986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58775" y="377825"/>
            <a:ext cx="8423275" cy="615553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sz="2000" kern="0" dirty="0">
                <a:solidFill>
                  <a:schemeClr val="accent2"/>
                </a:solidFill>
              </a:rPr>
              <a:t>Накопленная практика в рамках исполнительных производств: возникшие факторы, стоящие вызовы </a:t>
            </a:r>
          </a:p>
        </p:txBody>
      </p:sp>
      <p:sp>
        <p:nvSpPr>
          <p:cNvPr id="28" name="Fußzeilenplatzhalter 265">
            <a:extLst>
              <a:ext uri="{FF2B5EF4-FFF2-40B4-BE49-F238E27FC236}">
                <a16:creationId xmlns:a16="http://schemas.microsoft.com/office/drawing/2014/main" id="{830B4FF9-4AB9-49B1-8047-B4E429BC920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auto">
          <a:xfrm>
            <a:off x="729762" y="4880784"/>
            <a:ext cx="7199801" cy="123111"/>
          </a:xfrm>
          <a:ln>
            <a:miter lim="800000"/>
            <a:headEnd/>
            <a:tailEnd/>
          </a:ln>
        </p:spPr>
        <p:txBody>
          <a:bodyPr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/>
              <a:t>EOS Group – For a debt-free world © EOS</a:t>
            </a:r>
            <a:endParaRPr lang="de-DE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F2D627DF-FE1E-4545-BA73-BA186F6B07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391D8CE9-C67E-425B-A3B0-F5CBCB7FB14C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pic>
        <p:nvPicPr>
          <p:cNvPr id="11" name="Graphic 15">
            <a:extLst>
              <a:ext uri="{FF2B5EF4-FFF2-40B4-BE49-F238E27FC236}">
                <a16:creationId xmlns:a16="http://schemas.microsoft.com/office/drawing/2014/main" id="{368DD8C8-38E7-470D-96A1-D6B7311C1C6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34182" y="1672136"/>
            <a:ext cx="1008112" cy="104363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BEB3711-875A-4061-9243-8CA00EFA1728}"/>
              </a:ext>
            </a:extLst>
          </p:cNvPr>
          <p:cNvSpPr txBox="1"/>
          <p:nvPr/>
        </p:nvSpPr>
        <p:spPr>
          <a:xfrm>
            <a:off x="1619672" y="1275606"/>
            <a:ext cx="7344816" cy="27084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ru-RU" dirty="0">
              <a:solidFill>
                <a:srgbClr val="333333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b="1" dirty="0">
                <a:solidFill>
                  <a:srgbClr val="333333"/>
                </a:solidFill>
              </a:rPr>
              <a:t>Нагрузка на ФССП. </a:t>
            </a:r>
            <a:r>
              <a:rPr lang="ru-RU" sz="1400" dirty="0">
                <a:solidFill>
                  <a:srgbClr val="333333"/>
                </a:solidFill>
              </a:rPr>
              <a:t>Рост сегмента увеличивает нагрузку на Службу. За период с 2016-2020 г. количество исполнительных производств на одного судебного пристава-исполнителя увеличилось на 36%.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ru-RU" sz="1400" dirty="0">
              <a:solidFill>
                <a:srgbClr val="333333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b="1" dirty="0">
                <a:solidFill>
                  <a:srgbClr val="333333"/>
                </a:solidFill>
              </a:rPr>
              <a:t>Электронный документооборот.</a:t>
            </a:r>
            <a:r>
              <a:rPr lang="ru-RU" sz="1400" dirty="0">
                <a:solidFill>
                  <a:srgbClr val="333333"/>
                </a:solidFill>
              </a:rPr>
              <a:t> Скорейшее внедрение процедур способно «амортизировать» негативные последствия роста нагрузки на исполнение: рост % рассмотренных заявлений, кратное снижение сроков ответов, снижение уровня бумажной корреспонденции, снижение количества заявлений приставам и жалоб на Службу</a:t>
            </a:r>
          </a:p>
          <a:p>
            <a:endParaRPr lang="ru-RU" b="1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384663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VCT_SHOW_CA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7/29/2016 09:36:35"/>
  <p:tag name="VCTMASTER" val="150520_EOSTMP1501_PPT-DE-16-9"/>
  <p:tag name="VCTORDER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7/29/2016 09:36:35"/>
  <p:tag name="VCTMASTER" val="150520_EOSTMP1501_PPT-DE-16-9"/>
  <p:tag name="VCTORDER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3.88976;13.88976;28.34646;28.34646;42.23622;0;0;"/>
  <p:tag name="VCT-BULLETVISIBILITY" val="G *** 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8/15/2016 17:51:48"/>
  <p:tag name="VCTMASTER" val="150520_EOSTMP1501_PPT-EN-16-9"/>
  <p:tag name="VCTORDER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7/29/2016 09:36:35"/>
  <p:tag name="VCTMASTER" val="150520_EOSTMP1501_PPT-DE-16-9"/>
  <p:tag name="VCTORDER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7/29/2016 09:36:35"/>
  <p:tag name="VCTMASTER" val="150520_EOSTMP1501_PPT-DE-16-9"/>
  <p:tag name="VCTORDER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3.88976;13.88976;28.34646;28.34646;42.23622;0;0;"/>
  <p:tag name="VCT-BULLETVISIBILITY" val="G ***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8/15/2016 17:51:48"/>
  <p:tag name="VCTMASTER" val="150520_EOSTMP1501_PPT-EN-16-9"/>
  <p:tag name="VCTORDER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7/29/2016 09:36:35"/>
  <p:tag name="VCTMASTER" val="150520_EOSTMP1501_PPT-DE-16-9"/>
  <p:tag name="VCTORDER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150520_EOSTMP1501_PPT-EN-16-9">
  <a:themeElements>
    <a:clrScheme name="EOS">
      <a:dk1>
        <a:srgbClr val="000000"/>
      </a:dk1>
      <a:lt1>
        <a:srgbClr val="FFFFFF"/>
      </a:lt1>
      <a:dk2>
        <a:srgbClr val="4D4D4C"/>
      </a:dk2>
      <a:lt2>
        <a:srgbClr val="9E2B11"/>
      </a:lt2>
      <a:accent1>
        <a:srgbClr val="B15541"/>
      </a:accent1>
      <a:accent2>
        <a:srgbClr val="717170"/>
      </a:accent2>
      <a:accent3>
        <a:srgbClr val="949494"/>
      </a:accent3>
      <a:accent4>
        <a:srgbClr val="B8B8B7"/>
      </a:accent4>
      <a:accent5>
        <a:srgbClr val="DBDBDB"/>
      </a:accent5>
      <a:accent6>
        <a:srgbClr val="E4E4E4"/>
      </a:accent6>
      <a:hlink>
        <a:srgbClr val="9C301A"/>
      </a:hlink>
      <a:folHlink>
        <a:srgbClr val="9C301A"/>
      </a:folHlink>
    </a:clrScheme>
    <a:fontScheme name="EOS 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150520_EOSTMP1501_PPT-EN-16-9">
  <a:themeElements>
    <a:clrScheme name="EOS">
      <a:dk1>
        <a:srgbClr val="000000"/>
      </a:dk1>
      <a:lt1>
        <a:srgbClr val="FFFFFF"/>
      </a:lt1>
      <a:dk2>
        <a:srgbClr val="4D4D4C"/>
      </a:dk2>
      <a:lt2>
        <a:srgbClr val="9E2B11"/>
      </a:lt2>
      <a:accent1>
        <a:srgbClr val="B15541"/>
      </a:accent1>
      <a:accent2>
        <a:srgbClr val="717170"/>
      </a:accent2>
      <a:accent3>
        <a:srgbClr val="949494"/>
      </a:accent3>
      <a:accent4>
        <a:srgbClr val="B8B8B7"/>
      </a:accent4>
      <a:accent5>
        <a:srgbClr val="DBDBDB"/>
      </a:accent5>
      <a:accent6>
        <a:srgbClr val="E4E4E4"/>
      </a:accent6>
      <a:hlink>
        <a:srgbClr val="9C301A"/>
      </a:hlink>
      <a:folHlink>
        <a:srgbClr val="9C301A"/>
      </a:folHlink>
    </a:clrScheme>
    <a:fontScheme name="EOS 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Larissa">
  <a:themeElements>
    <a:clrScheme name="EOS">
      <a:dk1>
        <a:srgbClr val="000000"/>
      </a:dk1>
      <a:lt1>
        <a:srgbClr val="FFFFFF"/>
      </a:lt1>
      <a:dk2>
        <a:srgbClr val="666366"/>
      </a:dk2>
      <a:lt2>
        <a:srgbClr val="9C301A"/>
      </a:lt2>
      <a:accent1>
        <a:srgbClr val="B05948"/>
      </a:accent1>
      <a:accent2>
        <a:srgbClr val="858285"/>
      </a:accent2>
      <a:accent3>
        <a:srgbClr val="A2A1A3"/>
      </a:accent3>
      <a:accent4>
        <a:srgbClr val="C2C1C2"/>
      </a:accent4>
      <a:accent5>
        <a:srgbClr val="E0E0E0"/>
      </a:accent5>
      <a:accent6>
        <a:srgbClr val="FFFFFF"/>
      </a:accent6>
      <a:hlink>
        <a:srgbClr val="9C301A"/>
      </a:hlink>
      <a:folHlink>
        <a:srgbClr val="9C301A"/>
      </a:folHlink>
    </a:clrScheme>
    <a:fontScheme name="EOS 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150520_EOSTMP1501_PPT-EN-16-9</Template>
  <TotalTime>10389</TotalTime>
  <Words>469</Words>
  <Application>Microsoft Office PowerPoint</Application>
  <PresentationFormat>Экран (16:9)</PresentationFormat>
  <Paragraphs>67</Paragraphs>
  <Slides>6</Slides>
  <Notes>6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6</vt:i4>
      </vt:variant>
    </vt:vector>
  </HeadingPairs>
  <TitlesOfParts>
    <vt:vector size="8" baseType="lpstr">
      <vt:lpstr>150520_EOSTMP1501_PPT-EN-16-9</vt:lpstr>
      <vt:lpstr>1_150520_EOSTMP1501_PPT-EN-16-9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EOS Group</dc:title>
  <dc:creator>TrapperN</dc:creator>
  <cp:lastModifiedBy>Иван Комиссаров</cp:lastModifiedBy>
  <cp:revision>624</cp:revision>
  <cp:lastPrinted>2019-09-17T06:48:34Z</cp:lastPrinted>
  <dcterms:created xsi:type="dcterms:W3CDTF">2015-05-26T10:13:39Z</dcterms:created>
  <dcterms:modified xsi:type="dcterms:W3CDTF">2021-05-27T13:57:09Z</dcterms:modified>
</cp:coreProperties>
</file>